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7" r:id="rId5"/>
  </p:sldMasterIdLst>
  <p:notesMasterIdLst>
    <p:notesMasterId r:id="rId14"/>
  </p:notesMasterIdLst>
  <p:sldIdLst>
    <p:sldId id="256" r:id="rId6"/>
    <p:sldId id="292" r:id="rId7"/>
    <p:sldId id="293" r:id="rId8"/>
    <p:sldId id="4599" r:id="rId9"/>
    <p:sldId id="4612" r:id="rId10"/>
    <p:sldId id="4608" r:id="rId11"/>
    <p:sldId id="4609" r:id="rId12"/>
    <p:sldId id="277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ws, Chris" initials="AC" lastIdx="1" clrIdx="0">
    <p:extLst>
      <p:ext uri="{19B8F6BF-5375-455C-9EA6-DF929625EA0E}">
        <p15:presenceInfo xmlns:p15="http://schemas.microsoft.com/office/powerpoint/2012/main" userId="S-1-5-21-727530060-1425108022-637696952-116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80" autoAdjust="0"/>
  </p:normalViewPr>
  <p:slideViewPr>
    <p:cSldViewPr snapToGrid="0" showGuides="1">
      <p:cViewPr varScale="1">
        <p:scale>
          <a:sx n="79" d="100"/>
          <a:sy n="79" d="100"/>
        </p:scale>
        <p:origin x="120" y="61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153848616"/>
        <c:axId val="153849008"/>
      </c:barChart>
      <c:catAx>
        <c:axId val="153848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53849008"/>
        <c:crosses val="autoZero"/>
        <c:auto val="1"/>
        <c:lblAlgn val="ctr"/>
        <c:lblOffset val="100"/>
        <c:noMultiLvlLbl val="0"/>
      </c:catAx>
      <c:valAx>
        <c:axId val="153849008"/>
        <c:scaling>
          <c:orientation val="minMax"/>
          <c:min val="0"/>
        </c:scaling>
        <c:delete val="0"/>
        <c:axPos val="l"/>
        <c:numFmt formatCode="_([$$-409]* #,##0.0_);_([$$-409]* \(#,##0.0\);_([$$-409]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3848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535030552"/>
        <c:axId val="535030944"/>
      </c:barChart>
      <c:catAx>
        <c:axId val="535030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535030944"/>
        <c:crosses val="autoZero"/>
        <c:auto val="1"/>
        <c:lblAlgn val="ctr"/>
        <c:lblOffset val="100"/>
        <c:noMultiLvlLbl val="0"/>
      </c:catAx>
      <c:valAx>
        <c:axId val="535030944"/>
        <c:scaling>
          <c:orientation val="minMax"/>
          <c:min val="0"/>
        </c:scaling>
        <c:delete val="0"/>
        <c:axPos val="l"/>
        <c:numFmt formatCode="_([$$-409]* #,##0.0_);_([$$-409]* \(#,##0.0\);_([$$-409]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35030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2711A3-BC67-4292-902E-A558703D8096}" type="datetimeFigureOut">
              <a:rPr lang="en-US" smtClean="0"/>
              <a:pPr/>
              <a:t>2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D0A11F-E4EB-4D92-8510-8CD3076E6C8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272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0A11F-E4EB-4D92-8510-8CD3076E6C8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773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oper Standar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" y="207974"/>
            <a:ext cx="12200965" cy="686304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8965" y="6860712"/>
            <a:ext cx="12192000" cy="1587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3813568" y="3898283"/>
            <a:ext cx="7802822" cy="647585"/>
          </a:xfrm>
          <a:noFill/>
          <a:ln w="9525">
            <a:noFill/>
            <a:miter lim="800000"/>
            <a:headEnd/>
            <a:tailEnd/>
          </a:ln>
        </p:spPr>
        <p:txBody>
          <a:bodyPr rtlCol="0" anchor="b">
            <a:noAutofit/>
          </a:bodyPr>
          <a:lstStyle>
            <a:lvl1pPr>
              <a:defRPr kumimoji="0" lang="en-US" sz="28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3813568" y="4582907"/>
            <a:ext cx="7802822" cy="567267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077" y="2943922"/>
            <a:ext cx="5895201" cy="954361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8965" y="6860712"/>
            <a:ext cx="12192000" cy="1587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206922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208111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210857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20901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409281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7977940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5476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 -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206922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208111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210857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16385" y="162560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815975" y="162560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392867" y="162560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392457" y="162560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968940" y="163211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7968530" y="163211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918482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s -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393434" y="2219418"/>
            <a:ext cx="3373722" cy="35565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hart 3"/>
          <p:cNvGraphicFramePr/>
          <p:nvPr userDrawn="1">
            <p:extLst/>
          </p:nvPr>
        </p:nvGraphicFramePr>
        <p:xfrm>
          <a:off x="3998323" y="3443526"/>
          <a:ext cx="3679047" cy="2624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820901" y="2219417"/>
            <a:ext cx="3373722" cy="356201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4"/>
          <p:cNvSpPr>
            <a:spLocks noChangeArrowheads="1"/>
          </p:cNvSpPr>
          <p:nvPr userDrawn="1"/>
        </p:nvSpPr>
        <p:spPr bwMode="invGray">
          <a:xfrm>
            <a:off x="980393" y="3200147"/>
            <a:ext cx="3133953" cy="3309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88898" tIns="44449" rIns="88898" bIns="44449" anchor="ctr"/>
          <a:lstStyle/>
          <a:p>
            <a:pPr algn="ctr" defTabSz="889000" eaLnBrk="0" hangingPunct="0"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977656" y="2219417"/>
            <a:ext cx="3373722" cy="35622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hart Placeholder 23"/>
          <p:cNvSpPr>
            <a:spLocks noGrp="1"/>
          </p:cNvSpPr>
          <p:nvPr>
            <p:ph type="chart" sz="quarter" idx="10" hasCustomPrompt="1"/>
          </p:nvPr>
        </p:nvSpPr>
        <p:spPr>
          <a:xfrm>
            <a:off x="996977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801395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802584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805330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820900" y="1366284"/>
            <a:ext cx="10530478" cy="338554"/>
          </a:xfrm>
          <a:solidFill>
            <a:srgbClr val="00539F"/>
          </a:solidFill>
        </p:spPr>
        <p:txBody>
          <a:bodyPr anchor="ctr">
            <a:spAutoFit/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The Takeaway of the Trend</a:t>
            </a:r>
          </a:p>
        </p:txBody>
      </p:sp>
      <p:sp>
        <p:nvSpPr>
          <p:cNvPr id="20" name="Chart Placeholder 23"/>
          <p:cNvSpPr>
            <a:spLocks noGrp="1"/>
          </p:cNvSpPr>
          <p:nvPr>
            <p:ph type="chart" sz="quarter" idx="17" hasCustomPrompt="1"/>
          </p:nvPr>
        </p:nvSpPr>
        <p:spPr>
          <a:xfrm>
            <a:off x="4577556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1" name="Chart Placeholder 23"/>
          <p:cNvSpPr>
            <a:spLocks noGrp="1"/>
          </p:cNvSpPr>
          <p:nvPr>
            <p:ph type="chart" sz="quarter" idx="18" hasCustomPrompt="1"/>
          </p:nvPr>
        </p:nvSpPr>
        <p:spPr>
          <a:xfrm>
            <a:off x="8146073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11040154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opic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2"/>
          <p:cNvSpPr txBox="1">
            <a:spLocks/>
          </p:cNvSpPr>
          <p:nvPr userDrawn="1"/>
        </p:nvSpPr>
        <p:spPr bwMode="auto">
          <a:xfrm>
            <a:off x="1850522" y="1114238"/>
            <a:ext cx="324898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3200" b="1" kern="1200" cap="all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sz="1600" cap="none" baseline="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224923" y="1136331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251868" y="1136331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223751" y="3828939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6251866" y="3828939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23373" y="1556921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240710" y="1556921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1223372" y="4261509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6251866" y="4261509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54480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opic - Objects/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 hasCustomPrompt="1"/>
          </p:nvPr>
        </p:nvSpPr>
        <p:spPr>
          <a:xfrm>
            <a:off x="1230683" y="1528763"/>
            <a:ext cx="4687159" cy="2138180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256029" y="1536690"/>
            <a:ext cx="4681436" cy="2130061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1227914" y="4236208"/>
            <a:ext cx="4681436" cy="2129197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0" name="Content Placeholder 8"/>
          <p:cNvSpPr>
            <a:spLocks noGrp="1"/>
          </p:cNvSpPr>
          <p:nvPr>
            <p:ph sz="quarter" idx="21" hasCustomPrompt="1"/>
          </p:nvPr>
        </p:nvSpPr>
        <p:spPr>
          <a:xfrm>
            <a:off x="6262975" y="4236208"/>
            <a:ext cx="4681436" cy="2129197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 bwMode="auto">
          <a:xfrm>
            <a:off x="1857644" y="1114238"/>
            <a:ext cx="324404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3200" b="1" kern="1200" cap="all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sz="1600" cap="none" baseline="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232045" y="1140685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258990" y="1136331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230873" y="3828939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6258988" y="3865421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6262975" y="1528762"/>
            <a:ext cx="4681436" cy="21388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256029" y="4236208"/>
            <a:ext cx="4681436" cy="21379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1235708" y="4236385"/>
            <a:ext cx="4681436" cy="21379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233371" y="1529325"/>
            <a:ext cx="4681436" cy="21388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486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09600" y="1219199"/>
            <a:ext cx="5349549" cy="5184017"/>
          </a:xfrm>
        </p:spPr>
        <p:txBody>
          <a:bodyPr/>
          <a:lstStyle>
            <a:lvl1pPr>
              <a:spcBef>
                <a:spcPts val="576"/>
              </a:spcBef>
              <a:defRPr/>
            </a:lvl1pPr>
            <a:lvl2pPr>
              <a:spcBef>
                <a:spcPts val="480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384"/>
              </a:spcBef>
              <a:defRPr/>
            </a:lvl4pPr>
            <a:lvl5pPr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6232851" y="1219199"/>
            <a:ext cx="5349549" cy="5184017"/>
          </a:xfrm>
        </p:spPr>
        <p:txBody>
          <a:bodyPr/>
          <a:lstStyle>
            <a:lvl1pPr>
              <a:spcBef>
                <a:spcPts val="576"/>
              </a:spcBef>
              <a:defRPr/>
            </a:lvl1pPr>
            <a:lvl2pPr>
              <a:spcBef>
                <a:spcPts val="480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384"/>
              </a:spcBef>
              <a:defRPr/>
            </a:lvl4pPr>
            <a:lvl5pPr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2957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202157" y="6540501"/>
            <a:ext cx="94156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457200">
              <a:defRPr/>
            </a:pPr>
            <a:fld id="{DC66650F-1B42-49C2-AE3F-C3CB5C7C31FE}" type="slidenum">
              <a:rPr lang="en-US" sz="10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457200">
                <a:defRPr/>
              </a:pPr>
              <a:t>‹nº›</a:t>
            </a:fld>
            <a:endParaRPr lang="en-US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10042882" y="6539176"/>
            <a:ext cx="1809991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6551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oper Standar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EA01D5-6692-4790-B544-53E42639D2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" y="-210315"/>
            <a:ext cx="12200965" cy="68630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8965" y="6860712"/>
            <a:ext cx="12192000" cy="1587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8965" y="6860712"/>
            <a:ext cx="12192000" cy="1587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D3D8C52F-ACEF-4266-9B0A-A66C3401FB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3568" y="3898283"/>
            <a:ext cx="7802822" cy="647585"/>
          </a:xfrm>
          <a:noFill/>
          <a:ln w="9525">
            <a:noFill/>
            <a:miter lim="800000"/>
            <a:headEnd/>
            <a:tailEnd/>
          </a:ln>
        </p:spPr>
        <p:txBody>
          <a:bodyPr rtlCol="0" anchor="b">
            <a:noAutofit/>
          </a:bodyPr>
          <a:lstStyle>
            <a:lvl1pPr>
              <a:defRPr kumimoji="0" lang="en-US" sz="28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D1B4C41-AEF3-44D6-A080-1373CCF4D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3568" y="4582907"/>
            <a:ext cx="7802822" cy="567267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6BB1A8-8F2F-4ABF-A0CA-58BDC3E304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077" y="2943922"/>
            <a:ext cx="5895201" cy="954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7888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219200"/>
            <a:ext cx="10972800" cy="5181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1759329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219200"/>
            <a:ext cx="10972800" cy="5181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14168136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32539230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918165"/>
            <a:ext cx="12192000" cy="49017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3100" y="2399568"/>
            <a:ext cx="7591044" cy="901701"/>
          </a:xfrm>
        </p:spPr>
        <p:txBody>
          <a:bodyPr/>
          <a:lstStyle>
            <a:lvl1pPr>
              <a:defRPr sz="2800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943100" y="3571709"/>
            <a:ext cx="7591044" cy="567267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54775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22"/>
          <p:cNvSpPr>
            <a:spLocks noGrp="1"/>
          </p:cNvSpPr>
          <p:nvPr>
            <p:ph type="pic" sz="quarter" idx="10"/>
          </p:nvPr>
        </p:nvSpPr>
        <p:spPr>
          <a:xfrm>
            <a:off x="2600325" y="1795463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1"/>
          </p:nvPr>
        </p:nvSpPr>
        <p:spPr>
          <a:xfrm>
            <a:off x="2600324" y="3115720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2600323" y="4431607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193" y="3007729"/>
            <a:ext cx="1174962" cy="1214127"/>
          </a:xfrm>
          <a:prstGeom prst="rect">
            <a:avLst/>
          </a:prstGeom>
        </p:spPr>
      </p:pic>
      <p:sp>
        <p:nvSpPr>
          <p:cNvPr id="13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5198852" y="2373746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5198852" y="1851892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5198852" y="37222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5198852" y="32004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5198852" y="50176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5198852" y="44958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497514" y="1795795"/>
            <a:ext cx="5054" cy="38375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24609113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3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488" y="2751893"/>
            <a:ext cx="1507589" cy="1867732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 flipH="1">
            <a:off x="2497514" y="1795795"/>
            <a:ext cx="5054" cy="38375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22"/>
          <p:cNvSpPr>
            <a:spLocks noGrp="1"/>
          </p:cNvSpPr>
          <p:nvPr userDrawn="1">
            <p:ph type="pic" sz="quarter" idx="10"/>
          </p:nvPr>
        </p:nvSpPr>
        <p:spPr>
          <a:xfrm>
            <a:off x="2600325" y="1795463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2600324" y="3115720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 userDrawn="1">
            <p:ph type="pic" sz="quarter" idx="12"/>
          </p:nvPr>
        </p:nvSpPr>
        <p:spPr>
          <a:xfrm>
            <a:off x="2600323" y="4431607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198852" y="237620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198852" y="185435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opic</a:t>
            </a:r>
          </a:p>
        </p:txBody>
      </p:sp>
      <p:sp>
        <p:nvSpPr>
          <p:cNvPr id="19" name="Text Placeholder 1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5198852" y="37222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198852" y="32004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opic</a:t>
            </a:r>
          </a:p>
        </p:txBody>
      </p:sp>
      <p:sp>
        <p:nvSpPr>
          <p:cNvPr id="22" name="Text Placeholder 13"/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5198852" y="50176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6" name="Text Placeholder 1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198852" y="44958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24136326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 Here (What Do These Two Items Indicat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876425"/>
            <a:ext cx="4951413" cy="4391025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 </a:t>
            </a:r>
            <a:br>
              <a:rPr lang="en-US" dirty="0"/>
            </a:br>
            <a:r>
              <a:rPr lang="en-US" dirty="0"/>
              <a:t>(avoid complete sentence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1876425"/>
            <a:ext cx="4951413" cy="4391025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 </a:t>
            </a:r>
            <a:br>
              <a:rPr lang="en-US" dirty="0"/>
            </a:br>
            <a:r>
              <a:rPr lang="en-US" dirty="0"/>
              <a:t>(avoid complete sentence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0710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- Objects/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838200" y="1873899"/>
            <a:ext cx="4951605" cy="4390952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119063" indent="0">
              <a:spcBef>
                <a:spcPts val="1800"/>
              </a:spcBef>
              <a:buNone/>
              <a:defRPr sz="1200"/>
            </a:lvl1pPr>
            <a:lvl2pPr marL="798513" indent="-285750">
              <a:spcBef>
                <a:spcPts val="300"/>
              </a:spcBef>
              <a:defRPr sz="18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wo topic – text” layout for a text version of this template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 Here (What Do These Two Items Indicate)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095999" y="1873899"/>
            <a:ext cx="4951605" cy="4390952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119063" indent="0">
              <a:spcBef>
                <a:spcPts val="1800"/>
              </a:spcBef>
              <a:buNone/>
              <a:defRPr sz="1200"/>
            </a:lvl1pPr>
            <a:lvl2pPr marL="798513" indent="-285750">
              <a:spcBef>
                <a:spcPts val="300"/>
              </a:spcBef>
              <a:defRPr sz="18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wo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26767429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Objec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064175" y="1910265"/>
            <a:ext cx="6480125" cy="1751631"/>
          </a:xfrm>
          <a:ln>
            <a:noFill/>
          </a:ln>
        </p:spPr>
        <p:txBody>
          <a:bodyPr/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730829" y="1902675"/>
            <a:ext cx="4187550" cy="1759221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dirty="0"/>
              <a:t>Click icon below to add objec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0829" y="3903662"/>
            <a:ext cx="4187549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748955" y="1546728"/>
            <a:ext cx="4187549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723430" y="4267200"/>
            <a:ext cx="4187550" cy="1759221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dirty="0"/>
              <a:t>Click icon below to add objec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064175" y="4267200"/>
            <a:ext cx="6480125" cy="1751631"/>
          </a:xfrm>
          <a:ln>
            <a:noFill/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61266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206922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208111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210857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20901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409281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7977940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46233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 -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206922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208111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210857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16385" y="162560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815975" y="162560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392867" y="162560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392457" y="162560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968940" y="163211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7968530" y="163211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27225462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s -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393434" y="2219418"/>
            <a:ext cx="3373722" cy="35565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hart 3"/>
          <p:cNvGraphicFramePr/>
          <p:nvPr userDrawn="1">
            <p:extLst/>
          </p:nvPr>
        </p:nvGraphicFramePr>
        <p:xfrm>
          <a:off x="3998323" y="3443526"/>
          <a:ext cx="3679047" cy="2624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820901" y="2219417"/>
            <a:ext cx="3373722" cy="356201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4"/>
          <p:cNvSpPr>
            <a:spLocks noChangeArrowheads="1"/>
          </p:cNvSpPr>
          <p:nvPr userDrawn="1"/>
        </p:nvSpPr>
        <p:spPr bwMode="invGray">
          <a:xfrm>
            <a:off x="980393" y="3200147"/>
            <a:ext cx="3133953" cy="3309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88898" tIns="44449" rIns="88898" bIns="44449" anchor="ctr"/>
          <a:lstStyle/>
          <a:p>
            <a:pPr algn="ctr" defTabSz="889000" eaLnBrk="0" hangingPunct="0"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977656" y="2219417"/>
            <a:ext cx="3373722" cy="35622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hart Placeholder 23"/>
          <p:cNvSpPr>
            <a:spLocks noGrp="1"/>
          </p:cNvSpPr>
          <p:nvPr>
            <p:ph type="chart" sz="quarter" idx="10" hasCustomPrompt="1"/>
          </p:nvPr>
        </p:nvSpPr>
        <p:spPr>
          <a:xfrm>
            <a:off x="996977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801395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802584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805330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820900" y="1366284"/>
            <a:ext cx="10530478" cy="338554"/>
          </a:xfrm>
          <a:solidFill>
            <a:srgbClr val="00539F"/>
          </a:solidFill>
        </p:spPr>
        <p:txBody>
          <a:bodyPr anchor="ctr">
            <a:spAutoFit/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The Takeaway of the Trend</a:t>
            </a:r>
          </a:p>
        </p:txBody>
      </p:sp>
      <p:sp>
        <p:nvSpPr>
          <p:cNvPr id="20" name="Chart Placeholder 23"/>
          <p:cNvSpPr>
            <a:spLocks noGrp="1"/>
          </p:cNvSpPr>
          <p:nvPr>
            <p:ph type="chart" sz="quarter" idx="17" hasCustomPrompt="1"/>
          </p:nvPr>
        </p:nvSpPr>
        <p:spPr>
          <a:xfrm>
            <a:off x="4577556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1" name="Chart Placeholder 23"/>
          <p:cNvSpPr>
            <a:spLocks noGrp="1"/>
          </p:cNvSpPr>
          <p:nvPr>
            <p:ph type="chart" sz="quarter" idx="18" hasCustomPrompt="1"/>
          </p:nvPr>
        </p:nvSpPr>
        <p:spPr>
          <a:xfrm>
            <a:off x="8146073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1732051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12334990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opic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2"/>
          <p:cNvSpPr txBox="1">
            <a:spLocks/>
          </p:cNvSpPr>
          <p:nvPr userDrawn="1"/>
        </p:nvSpPr>
        <p:spPr bwMode="auto">
          <a:xfrm>
            <a:off x="1850522" y="1114238"/>
            <a:ext cx="324898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3200" b="1" kern="1200" cap="all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sz="1600" cap="none" baseline="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224923" y="1136331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251868" y="1136331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223751" y="3828939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6251866" y="3828939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23373" y="1556921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240710" y="1556921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1223372" y="4261509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6251866" y="4261509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9177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opic - Objects/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 hasCustomPrompt="1"/>
          </p:nvPr>
        </p:nvSpPr>
        <p:spPr>
          <a:xfrm>
            <a:off x="1230683" y="1528763"/>
            <a:ext cx="4687159" cy="2138180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256029" y="1536690"/>
            <a:ext cx="4681436" cy="2130061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1227914" y="4236208"/>
            <a:ext cx="4681436" cy="2129197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0" name="Content Placeholder 8"/>
          <p:cNvSpPr>
            <a:spLocks noGrp="1"/>
          </p:cNvSpPr>
          <p:nvPr>
            <p:ph sz="quarter" idx="21" hasCustomPrompt="1"/>
          </p:nvPr>
        </p:nvSpPr>
        <p:spPr>
          <a:xfrm>
            <a:off x="6262975" y="4236208"/>
            <a:ext cx="4681436" cy="2129197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 bwMode="auto">
          <a:xfrm>
            <a:off x="1857644" y="1114238"/>
            <a:ext cx="324404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3200" b="1" kern="1200" cap="all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sz="1600" cap="none" baseline="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232045" y="1140685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258990" y="1136331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230873" y="3828939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6258988" y="3865421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6262975" y="1528762"/>
            <a:ext cx="4681436" cy="21388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256029" y="4236208"/>
            <a:ext cx="4681436" cy="21379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1235708" y="4236385"/>
            <a:ext cx="4681436" cy="21379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233371" y="1529325"/>
            <a:ext cx="4681436" cy="21388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4212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09600" y="1219199"/>
            <a:ext cx="5349549" cy="5184017"/>
          </a:xfrm>
        </p:spPr>
        <p:txBody>
          <a:bodyPr/>
          <a:lstStyle>
            <a:lvl1pPr>
              <a:spcBef>
                <a:spcPts val="576"/>
              </a:spcBef>
              <a:defRPr/>
            </a:lvl1pPr>
            <a:lvl2pPr>
              <a:spcBef>
                <a:spcPts val="480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384"/>
              </a:spcBef>
              <a:defRPr/>
            </a:lvl4pPr>
            <a:lvl5pPr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6232851" y="1219199"/>
            <a:ext cx="5349549" cy="5184017"/>
          </a:xfrm>
        </p:spPr>
        <p:txBody>
          <a:bodyPr/>
          <a:lstStyle>
            <a:lvl1pPr>
              <a:spcBef>
                <a:spcPts val="576"/>
              </a:spcBef>
              <a:defRPr/>
            </a:lvl1pPr>
            <a:lvl2pPr>
              <a:spcBef>
                <a:spcPts val="480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384"/>
              </a:spcBef>
              <a:defRPr/>
            </a:lvl4pPr>
            <a:lvl5pPr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7288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303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oper 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055"/>
            <a:ext cx="10972800" cy="868366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cap="none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40876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fg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0"/>
          </p:nvPr>
        </p:nvSpPr>
        <p:spPr>
          <a:xfrm>
            <a:off x="3727889" y="1795463"/>
            <a:ext cx="2297113" cy="12017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1"/>
          </p:nvPr>
        </p:nvSpPr>
        <p:spPr>
          <a:xfrm>
            <a:off x="3727888" y="3115720"/>
            <a:ext cx="2297113" cy="12017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3727887" y="4431607"/>
            <a:ext cx="2297113" cy="12017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6326416" y="2373746"/>
            <a:ext cx="4859548" cy="521854"/>
          </a:xfrm>
          <a:prstGeom prst="rect">
            <a:avLst/>
          </a:prstGeo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6326416" y="1851892"/>
            <a:ext cx="4859548" cy="521854"/>
          </a:xfrm>
          <a:prstGeom prst="rect">
            <a:avLst/>
          </a:prstGeo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6326416" y="3722254"/>
            <a:ext cx="4859548" cy="521854"/>
          </a:xfrm>
          <a:prstGeom prst="rect">
            <a:avLst/>
          </a:prstGeo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6326416" y="3200400"/>
            <a:ext cx="4859548" cy="521854"/>
          </a:xfrm>
          <a:prstGeom prst="rect">
            <a:avLst/>
          </a:prstGeo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6326416" y="5017654"/>
            <a:ext cx="4859548" cy="521854"/>
          </a:xfrm>
          <a:prstGeom prst="rect">
            <a:avLst/>
          </a:prstGeo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6326416" y="4495800"/>
            <a:ext cx="4859548" cy="521854"/>
          </a:xfrm>
          <a:prstGeom prst="rect">
            <a:avLst/>
          </a:prstGeo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055"/>
            <a:ext cx="10972800" cy="874927"/>
          </a:xfrm>
        </p:spPr>
        <p:txBody>
          <a:bodyPr/>
          <a:lstStyle>
            <a:lvl1pPr>
              <a:defRPr sz="2800" baseline="0"/>
            </a:lvl1pPr>
          </a:lstStyle>
          <a:p>
            <a:r>
              <a:rPr lang="en-US" dirty="0"/>
              <a:t>Click To Add Headline Her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63C518A-ECDC-479D-A317-22FACA337B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99" y="2665812"/>
            <a:ext cx="3531588" cy="176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8262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5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oper 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055"/>
            <a:ext cx="10972800" cy="84503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 smtClean="0">
                <a:solidFill>
                  <a:srgbClr val="0070C0"/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609600" y="1084217"/>
            <a:ext cx="10972800" cy="5319000"/>
          </a:xfrm>
        </p:spPr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2677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aight Connector 1"/>
          <p:cNvSpPr/>
          <p:nvPr/>
        </p:nvSpPr>
        <p:spPr>
          <a:xfrm flipV="1">
            <a:off x="0" y="6858000"/>
            <a:ext cx="12204700" cy="0"/>
          </a:xfrm>
          <a:prstGeom prst="lineInv">
            <a:avLst/>
          </a:prstGeom>
          <a:noFill/>
          <a:ln w="88900" cap="rnd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endParaRPr sz="100" dirty="0"/>
          </a:p>
        </p:txBody>
      </p:sp>
      <p:pic>
        <p:nvPicPr>
          <p:cNvPr id="3" name="Picture 2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6515100"/>
            <a:ext cx="1524000" cy="25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091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525"/>
          <a:stretch/>
        </p:blipFill>
        <p:spPr>
          <a:xfrm>
            <a:off x="0" y="1918165"/>
            <a:ext cx="12192000" cy="49017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3100" y="2399568"/>
            <a:ext cx="7591044" cy="901701"/>
          </a:xfrm>
        </p:spPr>
        <p:txBody>
          <a:bodyPr/>
          <a:lstStyle>
            <a:lvl1pPr>
              <a:defRPr sz="28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943100" y="3571709"/>
            <a:ext cx="7591044" cy="567267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90436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22"/>
          <p:cNvSpPr>
            <a:spLocks noGrp="1"/>
          </p:cNvSpPr>
          <p:nvPr>
            <p:ph type="pic" sz="quarter" idx="10"/>
          </p:nvPr>
        </p:nvSpPr>
        <p:spPr>
          <a:xfrm>
            <a:off x="2600325" y="1795463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1"/>
          </p:nvPr>
        </p:nvSpPr>
        <p:spPr>
          <a:xfrm>
            <a:off x="2600324" y="3115720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2600323" y="4431607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93" y="3007729"/>
            <a:ext cx="1174962" cy="1214127"/>
          </a:xfrm>
          <a:prstGeom prst="rect">
            <a:avLst/>
          </a:prstGeom>
        </p:spPr>
      </p:pic>
      <p:sp>
        <p:nvSpPr>
          <p:cNvPr id="13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5198852" y="2373746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5198852" y="1851892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5198852" y="37222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5198852" y="32004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5198852" y="50176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5198852" y="44958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497514" y="1795795"/>
            <a:ext cx="5054" cy="38375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37271334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3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488" y="2751893"/>
            <a:ext cx="1507589" cy="1867732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 flipH="1">
            <a:off x="2497514" y="1795795"/>
            <a:ext cx="5054" cy="38375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22"/>
          <p:cNvSpPr>
            <a:spLocks noGrp="1"/>
          </p:cNvSpPr>
          <p:nvPr userDrawn="1">
            <p:ph type="pic" sz="quarter" idx="10"/>
          </p:nvPr>
        </p:nvSpPr>
        <p:spPr>
          <a:xfrm>
            <a:off x="2600325" y="1795463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2600324" y="3115720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 userDrawn="1">
            <p:ph type="pic" sz="quarter" idx="12"/>
          </p:nvPr>
        </p:nvSpPr>
        <p:spPr>
          <a:xfrm>
            <a:off x="2600323" y="4431607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198852" y="237620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198852" y="185435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opic</a:t>
            </a:r>
          </a:p>
        </p:txBody>
      </p:sp>
      <p:sp>
        <p:nvSpPr>
          <p:cNvPr id="19" name="Text Placeholder 1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5198852" y="37222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198852" y="32004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opic</a:t>
            </a:r>
          </a:p>
        </p:txBody>
      </p:sp>
      <p:sp>
        <p:nvSpPr>
          <p:cNvPr id="22" name="Text Placeholder 13"/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5198852" y="50176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6" name="Text Placeholder 1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198852" y="44958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1530710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 Here (What Do These Two Items Indicat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876425"/>
            <a:ext cx="4951413" cy="4391025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 </a:t>
            </a:r>
            <a:br>
              <a:rPr lang="en-US" dirty="0"/>
            </a:br>
            <a:r>
              <a:rPr lang="en-US" dirty="0"/>
              <a:t>(avoid complete sentence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1876425"/>
            <a:ext cx="4951413" cy="4391025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 </a:t>
            </a:r>
            <a:br>
              <a:rPr lang="en-US" dirty="0"/>
            </a:br>
            <a:r>
              <a:rPr lang="en-US" dirty="0"/>
              <a:t>(avoid complete sentence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04296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- Objects/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838200" y="1873899"/>
            <a:ext cx="4951605" cy="4390952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119063" indent="0">
              <a:spcBef>
                <a:spcPts val="1800"/>
              </a:spcBef>
              <a:buNone/>
              <a:defRPr sz="1200"/>
            </a:lvl1pPr>
            <a:lvl2pPr marL="798513" indent="-285750">
              <a:spcBef>
                <a:spcPts val="300"/>
              </a:spcBef>
              <a:defRPr sz="18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wo topic – text” layout for a text version of this template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 Here (What Do These Two Items Indicate)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095999" y="1873899"/>
            <a:ext cx="4951605" cy="4390952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119063" indent="0">
              <a:spcBef>
                <a:spcPts val="1800"/>
              </a:spcBef>
              <a:buNone/>
              <a:defRPr sz="1200"/>
            </a:lvl1pPr>
            <a:lvl2pPr marL="798513" indent="-285750">
              <a:spcBef>
                <a:spcPts val="300"/>
              </a:spcBef>
              <a:defRPr sz="18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wo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41316172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Objec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064175" y="1910265"/>
            <a:ext cx="6480125" cy="1751631"/>
          </a:xfrm>
          <a:ln>
            <a:noFill/>
          </a:ln>
        </p:spPr>
        <p:txBody>
          <a:bodyPr/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730829" y="1902675"/>
            <a:ext cx="4187550" cy="1759221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dirty="0"/>
              <a:t>Click icon below to add objec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0829" y="3903662"/>
            <a:ext cx="4187549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748955" y="1546728"/>
            <a:ext cx="4187549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723430" y="4267200"/>
            <a:ext cx="4187550" cy="1759221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dirty="0"/>
              <a:t>Click icon below to add objec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064175" y="4267200"/>
            <a:ext cx="6480125" cy="1751631"/>
          </a:xfrm>
          <a:ln>
            <a:noFill/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33753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20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7475"/>
            <a:ext cx="10972800" cy="949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dd Headline Here (The “So What” of the Slide)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219199"/>
            <a:ext cx="10972800" cy="519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1202157" y="6477000"/>
            <a:ext cx="941560" cy="365125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457200">
              <a:defRPr/>
            </a:pPr>
            <a:fld id="{DC66650F-1B42-49C2-AE3F-C3CB5C7C31FE}" type="slidenum">
              <a:rPr lang="en-US" sz="10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457200">
                <a:defRPr/>
              </a:pPr>
              <a:t>‹nº›</a:t>
            </a:fld>
            <a:endParaRPr lang="en-US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842125"/>
            <a:ext cx="12200965" cy="20174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10869"/>
            <a:ext cx="1524000" cy="24817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9" r:id="rId2"/>
    <p:sldLayoutId id="2147483680" r:id="rId3"/>
    <p:sldLayoutId id="2147483666" r:id="rId4"/>
    <p:sldLayoutId id="2147483667" r:id="rId5"/>
    <p:sldLayoutId id="2147483668" r:id="rId6"/>
    <p:sldLayoutId id="2147483669" r:id="rId7"/>
    <p:sldLayoutId id="2147483683" r:id="rId8"/>
    <p:sldLayoutId id="2147483671" r:id="rId9"/>
    <p:sldLayoutId id="2147483673" r:id="rId10"/>
    <p:sldLayoutId id="2147483681" r:id="rId11"/>
    <p:sldLayoutId id="2147483675" r:id="rId12"/>
    <p:sldLayoutId id="2147483672" r:id="rId13"/>
    <p:sldLayoutId id="2147483682" r:id="rId14"/>
    <p:sldLayoutId id="2147483663" r:id="rId15"/>
    <p:sldLayoutId id="2147483685" r:id="rId16"/>
    <p:sldLayoutId id="2147483686" r:id="rId17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charset="0"/>
          <a:ea typeface="+mj-ea"/>
          <a:cs typeface="Arial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ts val="576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fontAlgn="base" hangingPunct="1">
        <a:spcBef>
          <a:spcPts val="48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fontAlgn="base" hangingPunct="1">
        <a:spcBef>
          <a:spcPts val="432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fontAlgn="base" hangingPunct="1">
        <a:spcBef>
          <a:spcPts val="384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fontAlgn="base" hangingPunct="1">
        <a:spcBef>
          <a:spcPts val="384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7475"/>
            <a:ext cx="10972800" cy="949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dd Headline Here (The “So What” of the Slide)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219199"/>
            <a:ext cx="10972800" cy="519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1202157" y="6477000"/>
            <a:ext cx="941560" cy="365125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457200">
              <a:defRPr/>
            </a:pPr>
            <a:fld id="{DC66650F-1B42-49C2-AE3F-C3CB5C7C31FE}" type="slidenum">
              <a:rPr lang="en-US" sz="10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457200">
                <a:defRPr/>
              </a:pPr>
              <a:t>‹nº›</a:t>
            </a:fld>
            <a:endParaRPr lang="en-US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842125"/>
            <a:ext cx="12200965" cy="20174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10869"/>
            <a:ext cx="1524000" cy="248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838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charset="0"/>
          <a:ea typeface="+mj-ea"/>
          <a:cs typeface="Arial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ts val="576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fontAlgn="base" hangingPunct="1">
        <a:spcBef>
          <a:spcPts val="48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fontAlgn="base" hangingPunct="1">
        <a:spcBef>
          <a:spcPts val="432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fontAlgn="base" hangingPunct="1">
        <a:spcBef>
          <a:spcPts val="384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fontAlgn="base" hangingPunct="1">
        <a:spcBef>
          <a:spcPts val="384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19.png"/><Relationship Id="rId7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9872" y="4001192"/>
            <a:ext cx="10930920" cy="1175915"/>
          </a:xfrm>
        </p:spPr>
        <p:txBody>
          <a:bodyPr/>
          <a:lstStyle/>
          <a:p>
            <a:pPr algn="ctr"/>
            <a:r>
              <a:rPr lang="en-US" i="1" dirty="0"/>
              <a:t>RACE FOR EXCELLENCE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DC9D851-2B8A-4094-9F4A-BBA6C63E977E}"/>
              </a:ext>
            </a:extLst>
          </p:cNvPr>
          <p:cNvSpPr txBox="1"/>
          <p:nvPr/>
        </p:nvSpPr>
        <p:spPr>
          <a:xfrm>
            <a:off x="4860966" y="6032666"/>
            <a:ext cx="24700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/>
              <a:t>Fevereiro 2020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5617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CaixaDeTexto 90">
            <a:extLst>
              <a:ext uri="{FF2B5EF4-FFF2-40B4-BE49-F238E27FC236}">
                <a16:creationId xmlns:a16="http://schemas.microsoft.com/office/drawing/2014/main" id="{2A9F5B6B-44C5-4B12-A376-DC89A23CB486}"/>
              </a:ext>
            </a:extLst>
          </p:cNvPr>
          <p:cNvSpPr txBox="1"/>
          <p:nvPr/>
        </p:nvSpPr>
        <p:spPr>
          <a:xfrm>
            <a:off x="2471403" y="6019234"/>
            <a:ext cx="1636349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ATUALIZAR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7B4BD33D-F6D5-4A2A-9A10-FFC4705D7055}"/>
              </a:ext>
            </a:extLst>
          </p:cNvPr>
          <p:cNvSpPr txBox="1"/>
          <p:nvPr/>
        </p:nvSpPr>
        <p:spPr>
          <a:xfrm>
            <a:off x="7258614" y="6001609"/>
            <a:ext cx="1679766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PESQUISAR</a:t>
            </a:r>
            <a:endParaRPr lang="pt-B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CFA8251F-15E6-48AD-B667-7172B685AC57}"/>
              </a:ext>
            </a:extLst>
          </p:cNvPr>
          <p:cNvSpPr txBox="1"/>
          <p:nvPr/>
        </p:nvSpPr>
        <p:spPr>
          <a:xfrm>
            <a:off x="4724075" y="6018449"/>
            <a:ext cx="2148120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CONFIGURAÇ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E5842335-C1A2-42C4-8460-28B29B52C43F}"/>
              </a:ext>
            </a:extLst>
          </p:cNvPr>
          <p:cNvSpPr txBox="1"/>
          <p:nvPr/>
        </p:nvSpPr>
        <p:spPr>
          <a:xfrm>
            <a:off x="338562" y="6019234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SALVAR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29BCF66E-C3F9-4965-A516-C776041F3B04}"/>
              </a:ext>
            </a:extLst>
          </p:cNvPr>
          <p:cNvSpPr txBox="1"/>
          <p:nvPr/>
        </p:nvSpPr>
        <p:spPr>
          <a:xfrm>
            <a:off x="1589273" y="4756547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Retângulo 244">
            <a:extLst>
              <a:ext uri="{FF2B5EF4-FFF2-40B4-BE49-F238E27FC236}">
                <a16:creationId xmlns:a16="http://schemas.microsoft.com/office/drawing/2014/main" id="{449CCA47-A3BC-48BE-965B-FDB0EED6FE8F}"/>
              </a:ext>
            </a:extLst>
          </p:cNvPr>
          <p:cNvSpPr/>
          <p:nvPr/>
        </p:nvSpPr>
        <p:spPr>
          <a:xfrm>
            <a:off x="2216384" y="4849823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9" name="Espaço Reservado para Texto 1">
            <a:extLst>
              <a:ext uri="{FF2B5EF4-FFF2-40B4-BE49-F238E27FC236}">
                <a16:creationId xmlns:a16="http://schemas.microsoft.com/office/drawing/2014/main" id="{222DFB3A-4F4B-4B02-BBF0-7EA05AC74ACF}"/>
              </a:ext>
            </a:extLst>
          </p:cNvPr>
          <p:cNvSpPr txBox="1">
            <a:spLocks/>
          </p:cNvSpPr>
          <p:nvPr/>
        </p:nvSpPr>
        <p:spPr bwMode="auto">
          <a:xfrm>
            <a:off x="170496" y="172728"/>
            <a:ext cx="11850815" cy="516041"/>
          </a:xfrm>
          <a:prstGeom prst="rect">
            <a:avLst/>
          </a:prstGeom>
          <a:solidFill>
            <a:srgbClr val="00539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fontAlgn="base" hangingPunct="1">
              <a:spcBef>
                <a:spcPts val="48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fontAlgn="base" hangingPunct="1">
              <a:spcBef>
                <a:spcPts val="432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/>
              <a:t>PRIMEIRA TELA (TELA DE ALIMENTAÇÃO)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06CC272E-DEC6-4321-83B8-F69BF02D617A}"/>
              </a:ext>
            </a:extLst>
          </p:cNvPr>
          <p:cNvSpPr/>
          <p:nvPr/>
        </p:nvSpPr>
        <p:spPr>
          <a:xfrm>
            <a:off x="261565" y="739645"/>
            <a:ext cx="8834097" cy="5657088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600" dirty="0" err="1">
              <a:solidFill>
                <a:schemeClr val="tx1"/>
              </a:solidFill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AAAACB08-DAAE-4926-B262-DE03C74DB4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689" y="780934"/>
            <a:ext cx="1944624" cy="396240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67F5C228-1743-4FA5-99BB-F386EC2F18C6}"/>
              </a:ext>
            </a:extLst>
          </p:cNvPr>
          <p:cNvSpPr txBox="1"/>
          <p:nvPr/>
        </p:nvSpPr>
        <p:spPr>
          <a:xfrm>
            <a:off x="2921461" y="744560"/>
            <a:ext cx="40871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1" dirty="0"/>
              <a:t>RACE FOR EXCELLENCE</a:t>
            </a:r>
            <a:endParaRPr lang="pt-BR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Gráfico 11" descr="Engrenagem única">
            <a:extLst>
              <a:ext uri="{FF2B5EF4-FFF2-40B4-BE49-F238E27FC236}">
                <a16:creationId xmlns:a16="http://schemas.microsoft.com/office/drawing/2014/main" id="{8929E555-DD7C-4AD0-AB18-E4DADAD0E9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31742" y="6010957"/>
            <a:ext cx="379138" cy="379138"/>
          </a:xfrm>
          <a:prstGeom prst="rect">
            <a:avLst/>
          </a:prstGeom>
        </p:spPr>
      </p:pic>
      <p:pic>
        <p:nvPicPr>
          <p:cNvPr id="14" name="Gráfico 13" descr="Lupa">
            <a:extLst>
              <a:ext uri="{FF2B5EF4-FFF2-40B4-BE49-F238E27FC236}">
                <a16:creationId xmlns:a16="http://schemas.microsoft.com/office/drawing/2014/main" id="{55458AFD-F9BA-4093-90FE-056A850F198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69712" y="5996419"/>
            <a:ext cx="361553" cy="361553"/>
          </a:xfrm>
          <a:prstGeom prst="rect">
            <a:avLst/>
          </a:prstGeom>
        </p:spPr>
      </p:pic>
      <p:pic>
        <p:nvPicPr>
          <p:cNvPr id="16" name="Gráfico 15" descr="Disco">
            <a:extLst>
              <a:ext uri="{FF2B5EF4-FFF2-40B4-BE49-F238E27FC236}">
                <a16:creationId xmlns:a16="http://schemas.microsoft.com/office/drawing/2014/main" id="{1B0B1250-837A-4BDC-A2A0-BC35D383A25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562" y="6010957"/>
            <a:ext cx="379138" cy="379138"/>
          </a:xfrm>
          <a:prstGeom prst="rect">
            <a:avLst/>
          </a:prstGeom>
        </p:spPr>
      </p:pic>
      <p:sp>
        <p:nvSpPr>
          <p:cNvPr id="21" name="CaixaDeTexto 20">
            <a:extLst>
              <a:ext uri="{FF2B5EF4-FFF2-40B4-BE49-F238E27FC236}">
                <a16:creationId xmlns:a16="http://schemas.microsoft.com/office/drawing/2014/main" id="{73E59ECE-33BC-4444-AD63-E061FDF008B3}"/>
              </a:ext>
            </a:extLst>
          </p:cNvPr>
          <p:cNvSpPr txBox="1"/>
          <p:nvPr/>
        </p:nvSpPr>
        <p:spPr>
          <a:xfrm>
            <a:off x="1575121" y="1759667"/>
            <a:ext cx="1331742" cy="3385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95,8 (%)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B70887E-3A9F-4A44-8BF7-4AF32253B022}"/>
              </a:ext>
            </a:extLst>
          </p:cNvPr>
          <p:cNvSpPr txBox="1"/>
          <p:nvPr/>
        </p:nvSpPr>
        <p:spPr>
          <a:xfrm>
            <a:off x="1579238" y="2178568"/>
            <a:ext cx="1331742" cy="3385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0,3 (%)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80A7F06F-C9A2-4B39-825D-DBFF5E381AAA}"/>
              </a:ext>
            </a:extLst>
          </p:cNvPr>
          <p:cNvSpPr txBox="1"/>
          <p:nvPr/>
        </p:nvSpPr>
        <p:spPr>
          <a:xfrm>
            <a:off x="1579238" y="2616356"/>
            <a:ext cx="1331742" cy="3385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30 (Min)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BB334879-0D2D-451A-A4BA-170F6E9363A9}"/>
              </a:ext>
            </a:extLst>
          </p:cNvPr>
          <p:cNvSpPr txBox="1"/>
          <p:nvPr/>
        </p:nvSpPr>
        <p:spPr>
          <a:xfrm>
            <a:off x="1588533" y="3012462"/>
            <a:ext cx="1331742" cy="3385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3 (Min)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694E5D8D-E7CC-4DBC-A8B5-84971EB8CA21}"/>
              </a:ext>
            </a:extLst>
          </p:cNvPr>
          <p:cNvSpPr txBox="1"/>
          <p:nvPr/>
        </p:nvSpPr>
        <p:spPr>
          <a:xfrm>
            <a:off x="1596158" y="3396467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100 (%)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B23A5035-8558-41CF-8CB1-DB6DAADA2702}"/>
              </a:ext>
            </a:extLst>
          </p:cNvPr>
          <p:cNvSpPr txBox="1"/>
          <p:nvPr/>
        </p:nvSpPr>
        <p:spPr>
          <a:xfrm>
            <a:off x="1596158" y="4291235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1 (%)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D7E069AD-26EE-4A8D-AFEA-1221D0E7A568}"/>
              </a:ext>
            </a:extLst>
          </p:cNvPr>
          <p:cNvSpPr txBox="1"/>
          <p:nvPr/>
        </p:nvSpPr>
        <p:spPr>
          <a:xfrm>
            <a:off x="1596158" y="3825923"/>
            <a:ext cx="1331742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pt-BR" sz="11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400" b="1" dirty="0"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pt-BR" sz="11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880D61FA-BD02-4447-BDBE-ABF4D216D96A}"/>
              </a:ext>
            </a:extLst>
          </p:cNvPr>
          <p:cNvSpPr txBox="1"/>
          <p:nvPr/>
        </p:nvSpPr>
        <p:spPr>
          <a:xfrm>
            <a:off x="596613" y="1246847"/>
            <a:ext cx="728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KPI’s 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0AC2CD50-7823-424B-9008-05AF08FA0260}"/>
              </a:ext>
            </a:extLst>
          </p:cNvPr>
          <p:cNvSpPr txBox="1"/>
          <p:nvPr/>
        </p:nvSpPr>
        <p:spPr>
          <a:xfrm>
            <a:off x="619192" y="1811201"/>
            <a:ext cx="6423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OEE</a:t>
            </a: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C5AD8BE0-EE35-47E9-BF4D-CC26825ED8B9}"/>
              </a:ext>
            </a:extLst>
          </p:cNvPr>
          <p:cNvSpPr txBox="1"/>
          <p:nvPr/>
        </p:nvSpPr>
        <p:spPr>
          <a:xfrm>
            <a:off x="533189" y="2195677"/>
            <a:ext cx="9422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SCRAP</a:t>
            </a: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128F4555-FC49-4994-93AB-0C054D3CAE63}"/>
              </a:ext>
            </a:extLst>
          </p:cNvPr>
          <p:cNvSpPr txBox="1"/>
          <p:nvPr/>
        </p:nvSpPr>
        <p:spPr>
          <a:xfrm>
            <a:off x="370561" y="2655871"/>
            <a:ext cx="1331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DOWNTIME</a:t>
            </a: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C5CB82D7-6775-4B65-8393-B1BC59AD77C2}"/>
              </a:ext>
            </a:extLst>
          </p:cNvPr>
          <p:cNvSpPr txBox="1"/>
          <p:nvPr/>
        </p:nvSpPr>
        <p:spPr>
          <a:xfrm>
            <a:off x="233479" y="4344068"/>
            <a:ext cx="17020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ABSENTEÍSMO</a:t>
            </a: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41AE60E7-94AE-4BEA-9BEE-2A990689E45E}"/>
              </a:ext>
            </a:extLst>
          </p:cNvPr>
          <p:cNvSpPr txBox="1"/>
          <p:nvPr/>
        </p:nvSpPr>
        <p:spPr>
          <a:xfrm>
            <a:off x="518096" y="3087850"/>
            <a:ext cx="9724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SETUP</a:t>
            </a: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E1CE35E2-C3AC-4D0A-8145-222AEEC6CB2B}"/>
              </a:ext>
            </a:extLst>
          </p:cNvPr>
          <p:cNvSpPr txBox="1"/>
          <p:nvPr/>
        </p:nvSpPr>
        <p:spPr>
          <a:xfrm>
            <a:off x="327035" y="3874374"/>
            <a:ext cx="15139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SEGURANÇA</a:t>
            </a: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D5E1BF6F-69D8-4BE4-ADFE-A7A9DCF02882}"/>
              </a:ext>
            </a:extLst>
          </p:cNvPr>
          <p:cNvSpPr txBox="1"/>
          <p:nvPr/>
        </p:nvSpPr>
        <p:spPr>
          <a:xfrm>
            <a:off x="619192" y="3452493"/>
            <a:ext cx="6423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BTS</a:t>
            </a: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EF95FC32-7270-41CB-8B6F-6DEA3F7CD73B}"/>
              </a:ext>
            </a:extLst>
          </p:cNvPr>
          <p:cNvSpPr txBox="1"/>
          <p:nvPr/>
        </p:nvSpPr>
        <p:spPr>
          <a:xfrm>
            <a:off x="459361" y="4812975"/>
            <a:ext cx="11157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CP e CPK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6F3EB7FA-2BC2-4561-A23B-B0D5C1A1DDA3}"/>
              </a:ext>
            </a:extLst>
          </p:cNvPr>
          <p:cNvSpPr txBox="1"/>
          <p:nvPr/>
        </p:nvSpPr>
        <p:spPr>
          <a:xfrm>
            <a:off x="1588533" y="5232962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1 (Und)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13D9EC9C-9BDA-417B-ABB5-CC9D9807B467}"/>
              </a:ext>
            </a:extLst>
          </p:cNvPr>
          <p:cNvSpPr txBox="1"/>
          <p:nvPr/>
        </p:nvSpPr>
        <p:spPr>
          <a:xfrm>
            <a:off x="3933211" y="1700063"/>
            <a:ext cx="6423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9A811A38-3A50-42C0-A91E-50E4E7C3BD09}"/>
              </a:ext>
            </a:extLst>
          </p:cNvPr>
          <p:cNvSpPr txBox="1"/>
          <p:nvPr/>
        </p:nvSpPr>
        <p:spPr>
          <a:xfrm>
            <a:off x="683163" y="5294517"/>
            <a:ext cx="6423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BTO</a:t>
            </a:r>
          </a:p>
        </p:txBody>
      </p:sp>
      <p:sp>
        <p:nvSpPr>
          <p:cNvPr id="137" name="CaixaDeTexto 136">
            <a:extLst>
              <a:ext uri="{FF2B5EF4-FFF2-40B4-BE49-F238E27FC236}">
                <a16:creationId xmlns:a16="http://schemas.microsoft.com/office/drawing/2014/main" id="{F59A89B1-168E-4968-B75C-837C7453A63D}"/>
              </a:ext>
            </a:extLst>
          </p:cNvPr>
          <p:cNvSpPr txBox="1"/>
          <p:nvPr/>
        </p:nvSpPr>
        <p:spPr>
          <a:xfrm>
            <a:off x="7606638" y="1733827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CaixaDeTexto 137">
            <a:extLst>
              <a:ext uri="{FF2B5EF4-FFF2-40B4-BE49-F238E27FC236}">
                <a16:creationId xmlns:a16="http://schemas.microsoft.com/office/drawing/2014/main" id="{58E3AD16-EE53-4E51-B289-03804F0A2387}"/>
              </a:ext>
            </a:extLst>
          </p:cNvPr>
          <p:cNvSpPr txBox="1"/>
          <p:nvPr/>
        </p:nvSpPr>
        <p:spPr>
          <a:xfrm>
            <a:off x="7610755" y="2152728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CaixaDeTexto 138">
            <a:extLst>
              <a:ext uri="{FF2B5EF4-FFF2-40B4-BE49-F238E27FC236}">
                <a16:creationId xmlns:a16="http://schemas.microsoft.com/office/drawing/2014/main" id="{3330D7A3-AD8A-420B-AFFB-8DBA66647F82}"/>
              </a:ext>
            </a:extLst>
          </p:cNvPr>
          <p:cNvSpPr txBox="1"/>
          <p:nvPr/>
        </p:nvSpPr>
        <p:spPr>
          <a:xfrm>
            <a:off x="7610755" y="2590516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CaixaDeTexto 139">
            <a:extLst>
              <a:ext uri="{FF2B5EF4-FFF2-40B4-BE49-F238E27FC236}">
                <a16:creationId xmlns:a16="http://schemas.microsoft.com/office/drawing/2014/main" id="{B718C6BB-C217-4A7F-AF61-E67C79D399C5}"/>
              </a:ext>
            </a:extLst>
          </p:cNvPr>
          <p:cNvSpPr txBox="1"/>
          <p:nvPr/>
        </p:nvSpPr>
        <p:spPr>
          <a:xfrm>
            <a:off x="7620050" y="2986622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CaixaDeTexto 140">
            <a:extLst>
              <a:ext uri="{FF2B5EF4-FFF2-40B4-BE49-F238E27FC236}">
                <a16:creationId xmlns:a16="http://schemas.microsoft.com/office/drawing/2014/main" id="{9FCDF662-F919-4DCB-8120-2F3EB6B51148}"/>
              </a:ext>
            </a:extLst>
          </p:cNvPr>
          <p:cNvSpPr txBox="1"/>
          <p:nvPr/>
        </p:nvSpPr>
        <p:spPr>
          <a:xfrm>
            <a:off x="7627675" y="3370627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CaixaDeTexto 141">
            <a:extLst>
              <a:ext uri="{FF2B5EF4-FFF2-40B4-BE49-F238E27FC236}">
                <a16:creationId xmlns:a16="http://schemas.microsoft.com/office/drawing/2014/main" id="{F0AAD646-6469-4406-B8B9-AA86BEB1D7A8}"/>
              </a:ext>
            </a:extLst>
          </p:cNvPr>
          <p:cNvSpPr txBox="1"/>
          <p:nvPr/>
        </p:nvSpPr>
        <p:spPr>
          <a:xfrm>
            <a:off x="7620790" y="4730707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CaixaDeTexto 142">
            <a:extLst>
              <a:ext uri="{FF2B5EF4-FFF2-40B4-BE49-F238E27FC236}">
                <a16:creationId xmlns:a16="http://schemas.microsoft.com/office/drawing/2014/main" id="{31FC9031-440E-4263-89C6-A221D082F0C5}"/>
              </a:ext>
            </a:extLst>
          </p:cNvPr>
          <p:cNvSpPr txBox="1"/>
          <p:nvPr/>
        </p:nvSpPr>
        <p:spPr>
          <a:xfrm>
            <a:off x="7627675" y="4265395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CaixaDeTexto 143">
            <a:extLst>
              <a:ext uri="{FF2B5EF4-FFF2-40B4-BE49-F238E27FC236}">
                <a16:creationId xmlns:a16="http://schemas.microsoft.com/office/drawing/2014/main" id="{5887AC7E-24EA-406F-997F-9971D14E1FD7}"/>
              </a:ext>
            </a:extLst>
          </p:cNvPr>
          <p:cNvSpPr txBox="1"/>
          <p:nvPr/>
        </p:nvSpPr>
        <p:spPr>
          <a:xfrm>
            <a:off x="7627675" y="3800083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CaixaDeTexto 145">
            <a:extLst>
              <a:ext uri="{FF2B5EF4-FFF2-40B4-BE49-F238E27FC236}">
                <a16:creationId xmlns:a16="http://schemas.microsoft.com/office/drawing/2014/main" id="{5CFB6026-8A3E-4AA0-9310-C0A1920DFCB6}"/>
              </a:ext>
            </a:extLst>
          </p:cNvPr>
          <p:cNvSpPr txBox="1"/>
          <p:nvPr/>
        </p:nvSpPr>
        <p:spPr>
          <a:xfrm>
            <a:off x="6244167" y="1798704"/>
            <a:ext cx="15521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PESAGEM</a:t>
            </a:r>
          </a:p>
        </p:txBody>
      </p:sp>
      <p:sp>
        <p:nvSpPr>
          <p:cNvPr id="147" name="CaixaDeTexto 146">
            <a:extLst>
              <a:ext uri="{FF2B5EF4-FFF2-40B4-BE49-F238E27FC236}">
                <a16:creationId xmlns:a16="http://schemas.microsoft.com/office/drawing/2014/main" id="{800FB60B-FC4C-4CAD-AD57-6AA81A730E96}"/>
              </a:ext>
            </a:extLst>
          </p:cNvPr>
          <p:cNvSpPr txBox="1"/>
          <p:nvPr/>
        </p:nvSpPr>
        <p:spPr>
          <a:xfrm>
            <a:off x="6248125" y="2217455"/>
            <a:ext cx="1331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CHRONOS</a:t>
            </a:r>
          </a:p>
        </p:txBody>
      </p:sp>
      <p:sp>
        <p:nvSpPr>
          <p:cNvPr id="148" name="CaixaDeTexto 147">
            <a:extLst>
              <a:ext uri="{FF2B5EF4-FFF2-40B4-BE49-F238E27FC236}">
                <a16:creationId xmlns:a16="http://schemas.microsoft.com/office/drawing/2014/main" id="{0D41966A-E405-4438-B621-DC9791ABDC9B}"/>
              </a:ext>
            </a:extLst>
          </p:cNvPr>
          <p:cNvSpPr txBox="1"/>
          <p:nvPr/>
        </p:nvSpPr>
        <p:spPr>
          <a:xfrm>
            <a:off x="6286926" y="2653637"/>
            <a:ext cx="1331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NORMEC</a:t>
            </a:r>
          </a:p>
        </p:txBody>
      </p:sp>
      <p:sp>
        <p:nvSpPr>
          <p:cNvPr id="150" name="CaixaDeTexto 149">
            <a:extLst>
              <a:ext uri="{FF2B5EF4-FFF2-40B4-BE49-F238E27FC236}">
                <a16:creationId xmlns:a16="http://schemas.microsoft.com/office/drawing/2014/main" id="{409A9D81-301B-4F59-B829-DF3479AA4496}"/>
              </a:ext>
            </a:extLst>
          </p:cNvPr>
          <p:cNvSpPr txBox="1"/>
          <p:nvPr/>
        </p:nvSpPr>
        <p:spPr>
          <a:xfrm>
            <a:off x="6209386" y="3023811"/>
            <a:ext cx="1370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STRAINER</a:t>
            </a:r>
          </a:p>
        </p:txBody>
      </p:sp>
      <p:sp>
        <p:nvSpPr>
          <p:cNvPr id="154" name="CaixaDeTexto 153">
            <a:extLst>
              <a:ext uri="{FF2B5EF4-FFF2-40B4-BE49-F238E27FC236}">
                <a16:creationId xmlns:a16="http://schemas.microsoft.com/office/drawing/2014/main" id="{DA742A81-FB95-43DD-AD2F-0E242F9B4801}"/>
              </a:ext>
            </a:extLst>
          </p:cNvPr>
          <p:cNvSpPr txBox="1"/>
          <p:nvPr/>
        </p:nvSpPr>
        <p:spPr>
          <a:xfrm>
            <a:off x="7620050" y="5207122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CaixaDeTexto 189">
            <a:extLst>
              <a:ext uri="{FF2B5EF4-FFF2-40B4-BE49-F238E27FC236}">
                <a16:creationId xmlns:a16="http://schemas.microsoft.com/office/drawing/2014/main" id="{E407EA7D-CE6B-4160-8143-78B3B3783F62}"/>
              </a:ext>
            </a:extLst>
          </p:cNvPr>
          <p:cNvSpPr txBox="1"/>
          <p:nvPr/>
        </p:nvSpPr>
        <p:spPr>
          <a:xfrm>
            <a:off x="4694666" y="1744278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1 (Und)</a:t>
            </a:r>
          </a:p>
        </p:txBody>
      </p:sp>
      <p:sp>
        <p:nvSpPr>
          <p:cNvPr id="191" name="CaixaDeTexto 190">
            <a:extLst>
              <a:ext uri="{FF2B5EF4-FFF2-40B4-BE49-F238E27FC236}">
                <a16:creationId xmlns:a16="http://schemas.microsoft.com/office/drawing/2014/main" id="{1390A2A6-2921-42B1-9B06-3F38B30045C3}"/>
              </a:ext>
            </a:extLst>
          </p:cNvPr>
          <p:cNvSpPr txBox="1"/>
          <p:nvPr/>
        </p:nvSpPr>
        <p:spPr>
          <a:xfrm>
            <a:off x="4698783" y="2163179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1 (Und)</a:t>
            </a:r>
          </a:p>
        </p:txBody>
      </p:sp>
      <p:sp>
        <p:nvSpPr>
          <p:cNvPr id="192" name="CaixaDeTexto 191">
            <a:extLst>
              <a:ext uri="{FF2B5EF4-FFF2-40B4-BE49-F238E27FC236}">
                <a16:creationId xmlns:a16="http://schemas.microsoft.com/office/drawing/2014/main" id="{EAA287DF-EAAF-4174-ADB7-4540EDA71E05}"/>
              </a:ext>
            </a:extLst>
          </p:cNvPr>
          <p:cNvSpPr txBox="1"/>
          <p:nvPr/>
        </p:nvSpPr>
        <p:spPr>
          <a:xfrm>
            <a:off x="4698783" y="2600967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3" name="CaixaDeTexto 192">
            <a:extLst>
              <a:ext uri="{FF2B5EF4-FFF2-40B4-BE49-F238E27FC236}">
                <a16:creationId xmlns:a16="http://schemas.microsoft.com/office/drawing/2014/main" id="{A31EADB7-279B-4527-BB6F-741958745F1F}"/>
              </a:ext>
            </a:extLst>
          </p:cNvPr>
          <p:cNvSpPr txBox="1"/>
          <p:nvPr/>
        </p:nvSpPr>
        <p:spPr>
          <a:xfrm>
            <a:off x="4708078" y="2997073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4" name="CaixaDeTexto 193">
            <a:extLst>
              <a:ext uri="{FF2B5EF4-FFF2-40B4-BE49-F238E27FC236}">
                <a16:creationId xmlns:a16="http://schemas.microsoft.com/office/drawing/2014/main" id="{42230753-E911-4AFD-B6A6-81D3EAEFA631}"/>
              </a:ext>
            </a:extLst>
          </p:cNvPr>
          <p:cNvSpPr txBox="1"/>
          <p:nvPr/>
        </p:nvSpPr>
        <p:spPr>
          <a:xfrm>
            <a:off x="4715703" y="3381078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5" name="CaixaDeTexto 194">
            <a:extLst>
              <a:ext uri="{FF2B5EF4-FFF2-40B4-BE49-F238E27FC236}">
                <a16:creationId xmlns:a16="http://schemas.microsoft.com/office/drawing/2014/main" id="{FB0CFE4F-85F3-48AC-A438-16D5B4DDB496}"/>
              </a:ext>
            </a:extLst>
          </p:cNvPr>
          <p:cNvSpPr txBox="1"/>
          <p:nvPr/>
        </p:nvSpPr>
        <p:spPr>
          <a:xfrm>
            <a:off x="4708818" y="4741158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6" name="CaixaDeTexto 195">
            <a:extLst>
              <a:ext uri="{FF2B5EF4-FFF2-40B4-BE49-F238E27FC236}">
                <a16:creationId xmlns:a16="http://schemas.microsoft.com/office/drawing/2014/main" id="{315656ED-FE31-4905-9306-6D397416279E}"/>
              </a:ext>
            </a:extLst>
          </p:cNvPr>
          <p:cNvSpPr txBox="1"/>
          <p:nvPr/>
        </p:nvSpPr>
        <p:spPr>
          <a:xfrm>
            <a:off x="4715703" y="4275846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200" b="1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7" name="CaixaDeTexto 196">
            <a:extLst>
              <a:ext uri="{FF2B5EF4-FFF2-40B4-BE49-F238E27FC236}">
                <a16:creationId xmlns:a16="http://schemas.microsoft.com/office/drawing/2014/main" id="{D2A2C762-9CA7-41D2-9B1E-CF59B9D6EA06}"/>
              </a:ext>
            </a:extLst>
          </p:cNvPr>
          <p:cNvSpPr txBox="1"/>
          <p:nvPr/>
        </p:nvSpPr>
        <p:spPr>
          <a:xfrm>
            <a:off x="4715703" y="3810534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8" name="CaixaDeTexto 197">
            <a:extLst>
              <a:ext uri="{FF2B5EF4-FFF2-40B4-BE49-F238E27FC236}">
                <a16:creationId xmlns:a16="http://schemas.microsoft.com/office/drawing/2014/main" id="{19D0920D-D0E0-426C-8124-28C4A57621B6}"/>
              </a:ext>
            </a:extLst>
          </p:cNvPr>
          <p:cNvSpPr txBox="1"/>
          <p:nvPr/>
        </p:nvSpPr>
        <p:spPr>
          <a:xfrm>
            <a:off x="2951394" y="1804345"/>
            <a:ext cx="18823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QUALIDADE VARGINHA</a:t>
            </a:r>
          </a:p>
        </p:txBody>
      </p:sp>
      <p:sp>
        <p:nvSpPr>
          <p:cNvPr id="199" name="CaixaDeTexto 198">
            <a:extLst>
              <a:ext uri="{FF2B5EF4-FFF2-40B4-BE49-F238E27FC236}">
                <a16:creationId xmlns:a16="http://schemas.microsoft.com/office/drawing/2014/main" id="{0EFEBA00-4965-4E68-927E-888731A279D3}"/>
              </a:ext>
            </a:extLst>
          </p:cNvPr>
          <p:cNvSpPr txBox="1"/>
          <p:nvPr/>
        </p:nvSpPr>
        <p:spPr>
          <a:xfrm>
            <a:off x="3033680" y="2201603"/>
            <a:ext cx="158511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QUALIDADE ATIBAIA</a:t>
            </a:r>
          </a:p>
        </p:txBody>
      </p:sp>
      <p:sp>
        <p:nvSpPr>
          <p:cNvPr id="200" name="CaixaDeTexto 199">
            <a:extLst>
              <a:ext uri="{FF2B5EF4-FFF2-40B4-BE49-F238E27FC236}">
                <a16:creationId xmlns:a16="http://schemas.microsoft.com/office/drawing/2014/main" id="{7CCB505E-67E5-42BC-8025-164A3B37BB08}"/>
              </a:ext>
            </a:extLst>
          </p:cNvPr>
          <p:cNvSpPr txBox="1"/>
          <p:nvPr/>
        </p:nvSpPr>
        <p:spPr>
          <a:xfrm>
            <a:off x="3113934" y="2661797"/>
            <a:ext cx="16363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GRANULADOR</a:t>
            </a:r>
          </a:p>
        </p:txBody>
      </p:sp>
      <p:sp>
        <p:nvSpPr>
          <p:cNvPr id="201" name="CaixaDeTexto 200">
            <a:extLst>
              <a:ext uri="{FF2B5EF4-FFF2-40B4-BE49-F238E27FC236}">
                <a16:creationId xmlns:a16="http://schemas.microsoft.com/office/drawing/2014/main" id="{4C3D8E75-C3C2-4CEF-B46A-000C41EA4598}"/>
              </a:ext>
            </a:extLst>
          </p:cNvPr>
          <p:cNvSpPr txBox="1"/>
          <p:nvPr/>
        </p:nvSpPr>
        <p:spPr>
          <a:xfrm>
            <a:off x="3375015" y="4350812"/>
            <a:ext cx="1226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BLEND 2</a:t>
            </a:r>
          </a:p>
        </p:txBody>
      </p:sp>
      <p:sp>
        <p:nvSpPr>
          <p:cNvPr id="202" name="CaixaDeTexto 201">
            <a:extLst>
              <a:ext uri="{FF2B5EF4-FFF2-40B4-BE49-F238E27FC236}">
                <a16:creationId xmlns:a16="http://schemas.microsoft.com/office/drawing/2014/main" id="{B2696873-C426-4D7C-BDA5-4224CF391766}"/>
              </a:ext>
            </a:extLst>
          </p:cNvPr>
          <p:cNvSpPr txBox="1"/>
          <p:nvPr/>
        </p:nvSpPr>
        <p:spPr>
          <a:xfrm>
            <a:off x="3206770" y="3093776"/>
            <a:ext cx="1331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BATCH OFF</a:t>
            </a:r>
          </a:p>
        </p:txBody>
      </p:sp>
      <p:sp>
        <p:nvSpPr>
          <p:cNvPr id="203" name="CaixaDeTexto 202">
            <a:extLst>
              <a:ext uri="{FF2B5EF4-FFF2-40B4-BE49-F238E27FC236}">
                <a16:creationId xmlns:a16="http://schemas.microsoft.com/office/drawing/2014/main" id="{14A77396-08B8-4135-9A56-BC21602E26DF}"/>
              </a:ext>
            </a:extLst>
          </p:cNvPr>
          <p:cNvSpPr txBox="1"/>
          <p:nvPr/>
        </p:nvSpPr>
        <p:spPr>
          <a:xfrm>
            <a:off x="3375015" y="3880300"/>
            <a:ext cx="15139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BLEND 1</a:t>
            </a:r>
          </a:p>
        </p:txBody>
      </p:sp>
      <p:sp>
        <p:nvSpPr>
          <p:cNvPr id="204" name="CaixaDeTexto 203">
            <a:extLst>
              <a:ext uri="{FF2B5EF4-FFF2-40B4-BE49-F238E27FC236}">
                <a16:creationId xmlns:a16="http://schemas.microsoft.com/office/drawing/2014/main" id="{8F7855F5-DF30-4D02-906C-421F3E089F31}"/>
              </a:ext>
            </a:extLst>
          </p:cNvPr>
          <p:cNvSpPr txBox="1"/>
          <p:nvPr/>
        </p:nvSpPr>
        <p:spPr>
          <a:xfrm>
            <a:off x="3238770" y="3458419"/>
            <a:ext cx="1299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STRIP MILL</a:t>
            </a:r>
          </a:p>
        </p:txBody>
      </p:sp>
      <p:sp>
        <p:nvSpPr>
          <p:cNvPr id="205" name="CaixaDeTexto 204">
            <a:extLst>
              <a:ext uri="{FF2B5EF4-FFF2-40B4-BE49-F238E27FC236}">
                <a16:creationId xmlns:a16="http://schemas.microsoft.com/office/drawing/2014/main" id="{FA6DB1D9-4509-4A02-90A9-7524EA44F871}"/>
              </a:ext>
            </a:extLst>
          </p:cNvPr>
          <p:cNvSpPr txBox="1"/>
          <p:nvPr/>
        </p:nvSpPr>
        <p:spPr>
          <a:xfrm>
            <a:off x="3507341" y="4818901"/>
            <a:ext cx="11157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DROP</a:t>
            </a:r>
          </a:p>
        </p:txBody>
      </p:sp>
      <p:sp>
        <p:nvSpPr>
          <p:cNvPr id="206" name="CaixaDeTexto 205">
            <a:extLst>
              <a:ext uri="{FF2B5EF4-FFF2-40B4-BE49-F238E27FC236}">
                <a16:creationId xmlns:a16="http://schemas.microsoft.com/office/drawing/2014/main" id="{A3CB5B7B-6A25-4BE5-8DCB-868D42B14AC8}"/>
              </a:ext>
            </a:extLst>
          </p:cNvPr>
          <p:cNvSpPr txBox="1"/>
          <p:nvPr/>
        </p:nvSpPr>
        <p:spPr>
          <a:xfrm>
            <a:off x="4708078" y="5217573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SIM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N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7" name="CaixaDeTexto 206">
            <a:extLst>
              <a:ext uri="{FF2B5EF4-FFF2-40B4-BE49-F238E27FC236}">
                <a16:creationId xmlns:a16="http://schemas.microsoft.com/office/drawing/2014/main" id="{F212BDCB-0DDA-461C-A2F6-74AE5C60A7D7}"/>
              </a:ext>
            </a:extLst>
          </p:cNvPr>
          <p:cNvSpPr txBox="1"/>
          <p:nvPr/>
        </p:nvSpPr>
        <p:spPr>
          <a:xfrm>
            <a:off x="3216367" y="5288180"/>
            <a:ext cx="15139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latin typeface="Arial" panose="020B0604020202020204" pitchFamily="34" charset="0"/>
                <a:cs typeface="Arial" panose="020B0604020202020204" pitchFamily="34" charset="0"/>
              </a:rPr>
              <a:t>TPM MISTURADOR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CC7090E1-A91E-437C-9639-98C08CF4EF70}"/>
              </a:ext>
            </a:extLst>
          </p:cNvPr>
          <p:cNvSpPr/>
          <p:nvPr/>
        </p:nvSpPr>
        <p:spPr>
          <a:xfrm>
            <a:off x="1692747" y="3894082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42" name="Retângulo 241">
            <a:extLst>
              <a:ext uri="{FF2B5EF4-FFF2-40B4-BE49-F238E27FC236}">
                <a16:creationId xmlns:a16="http://schemas.microsoft.com/office/drawing/2014/main" id="{52787C1D-964F-4018-9B94-F70FF0851B41}"/>
              </a:ext>
            </a:extLst>
          </p:cNvPr>
          <p:cNvSpPr/>
          <p:nvPr/>
        </p:nvSpPr>
        <p:spPr>
          <a:xfrm>
            <a:off x="2216384" y="3894082"/>
            <a:ext cx="198627" cy="1886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43" name="Retângulo 242">
            <a:extLst>
              <a:ext uri="{FF2B5EF4-FFF2-40B4-BE49-F238E27FC236}">
                <a16:creationId xmlns:a16="http://schemas.microsoft.com/office/drawing/2014/main" id="{DF96BF51-7F8F-4574-86D6-24BA20B61630}"/>
              </a:ext>
            </a:extLst>
          </p:cNvPr>
          <p:cNvSpPr/>
          <p:nvPr/>
        </p:nvSpPr>
        <p:spPr>
          <a:xfrm>
            <a:off x="1672102" y="4840581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48" name="Retângulo 247">
            <a:extLst>
              <a:ext uri="{FF2B5EF4-FFF2-40B4-BE49-F238E27FC236}">
                <a16:creationId xmlns:a16="http://schemas.microsoft.com/office/drawing/2014/main" id="{C191A47D-91A5-407E-B0D8-1A2EF90C9DFD}"/>
              </a:ext>
            </a:extLst>
          </p:cNvPr>
          <p:cNvSpPr/>
          <p:nvPr/>
        </p:nvSpPr>
        <p:spPr>
          <a:xfrm>
            <a:off x="5293681" y="2699196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49" name="Retângulo 248">
            <a:extLst>
              <a:ext uri="{FF2B5EF4-FFF2-40B4-BE49-F238E27FC236}">
                <a16:creationId xmlns:a16="http://schemas.microsoft.com/office/drawing/2014/main" id="{8E9D1B4A-B38E-4786-9159-79A5A579469E}"/>
              </a:ext>
            </a:extLst>
          </p:cNvPr>
          <p:cNvSpPr/>
          <p:nvPr/>
        </p:nvSpPr>
        <p:spPr>
          <a:xfrm>
            <a:off x="4749399" y="2689954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50" name="Retângulo 249">
            <a:extLst>
              <a:ext uri="{FF2B5EF4-FFF2-40B4-BE49-F238E27FC236}">
                <a16:creationId xmlns:a16="http://schemas.microsoft.com/office/drawing/2014/main" id="{046EDC6A-4BEC-4558-BAF3-2AFA2789CC91}"/>
              </a:ext>
            </a:extLst>
          </p:cNvPr>
          <p:cNvSpPr/>
          <p:nvPr/>
        </p:nvSpPr>
        <p:spPr>
          <a:xfrm>
            <a:off x="5293681" y="3116716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51" name="Retângulo 250">
            <a:extLst>
              <a:ext uri="{FF2B5EF4-FFF2-40B4-BE49-F238E27FC236}">
                <a16:creationId xmlns:a16="http://schemas.microsoft.com/office/drawing/2014/main" id="{3D291336-0A92-4D87-866E-FE1DDFF9C220}"/>
              </a:ext>
            </a:extLst>
          </p:cNvPr>
          <p:cNvSpPr/>
          <p:nvPr/>
        </p:nvSpPr>
        <p:spPr>
          <a:xfrm>
            <a:off x="4749399" y="3107474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52" name="Retângulo 251">
            <a:extLst>
              <a:ext uri="{FF2B5EF4-FFF2-40B4-BE49-F238E27FC236}">
                <a16:creationId xmlns:a16="http://schemas.microsoft.com/office/drawing/2014/main" id="{5C9EBE33-CE6B-4C23-892F-2A4E9591504D}"/>
              </a:ext>
            </a:extLst>
          </p:cNvPr>
          <p:cNvSpPr/>
          <p:nvPr/>
        </p:nvSpPr>
        <p:spPr>
          <a:xfrm>
            <a:off x="5298867" y="3487739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53" name="Retângulo 252">
            <a:extLst>
              <a:ext uri="{FF2B5EF4-FFF2-40B4-BE49-F238E27FC236}">
                <a16:creationId xmlns:a16="http://schemas.microsoft.com/office/drawing/2014/main" id="{585C39EE-9593-4A12-BCE4-3337E7B7A78A}"/>
              </a:ext>
            </a:extLst>
          </p:cNvPr>
          <p:cNvSpPr/>
          <p:nvPr/>
        </p:nvSpPr>
        <p:spPr>
          <a:xfrm>
            <a:off x="4754585" y="3478497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54" name="Retângulo 253">
            <a:extLst>
              <a:ext uri="{FF2B5EF4-FFF2-40B4-BE49-F238E27FC236}">
                <a16:creationId xmlns:a16="http://schemas.microsoft.com/office/drawing/2014/main" id="{337BBBDD-E3FB-4FAB-8BC7-881DF148CC9C}"/>
              </a:ext>
            </a:extLst>
          </p:cNvPr>
          <p:cNvSpPr/>
          <p:nvPr/>
        </p:nvSpPr>
        <p:spPr>
          <a:xfrm>
            <a:off x="5289880" y="3907077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55" name="Retângulo 254">
            <a:extLst>
              <a:ext uri="{FF2B5EF4-FFF2-40B4-BE49-F238E27FC236}">
                <a16:creationId xmlns:a16="http://schemas.microsoft.com/office/drawing/2014/main" id="{7CAEB52A-D3D4-4F89-A84F-0CB469F17304}"/>
              </a:ext>
            </a:extLst>
          </p:cNvPr>
          <p:cNvSpPr/>
          <p:nvPr/>
        </p:nvSpPr>
        <p:spPr>
          <a:xfrm>
            <a:off x="4745598" y="3897835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56" name="Retângulo 255">
            <a:extLst>
              <a:ext uri="{FF2B5EF4-FFF2-40B4-BE49-F238E27FC236}">
                <a16:creationId xmlns:a16="http://schemas.microsoft.com/office/drawing/2014/main" id="{06794A68-8043-4928-B79D-F0758449F4BB}"/>
              </a:ext>
            </a:extLst>
          </p:cNvPr>
          <p:cNvSpPr/>
          <p:nvPr/>
        </p:nvSpPr>
        <p:spPr>
          <a:xfrm>
            <a:off x="5283767" y="4374284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57" name="Retângulo 256">
            <a:extLst>
              <a:ext uri="{FF2B5EF4-FFF2-40B4-BE49-F238E27FC236}">
                <a16:creationId xmlns:a16="http://schemas.microsoft.com/office/drawing/2014/main" id="{B13D63FA-D28D-4597-94F0-743A076C1691}"/>
              </a:ext>
            </a:extLst>
          </p:cNvPr>
          <p:cNvSpPr/>
          <p:nvPr/>
        </p:nvSpPr>
        <p:spPr>
          <a:xfrm>
            <a:off x="4739485" y="4365042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58" name="Retângulo 257">
            <a:extLst>
              <a:ext uri="{FF2B5EF4-FFF2-40B4-BE49-F238E27FC236}">
                <a16:creationId xmlns:a16="http://schemas.microsoft.com/office/drawing/2014/main" id="{12CF2DE8-2C7C-4EC6-9615-ABF0D0B58C27}"/>
              </a:ext>
            </a:extLst>
          </p:cNvPr>
          <p:cNvSpPr/>
          <p:nvPr/>
        </p:nvSpPr>
        <p:spPr>
          <a:xfrm>
            <a:off x="5293292" y="4823444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59" name="Retângulo 258">
            <a:extLst>
              <a:ext uri="{FF2B5EF4-FFF2-40B4-BE49-F238E27FC236}">
                <a16:creationId xmlns:a16="http://schemas.microsoft.com/office/drawing/2014/main" id="{5DDB14F9-EA97-45E3-951F-3C422F0D2DFB}"/>
              </a:ext>
            </a:extLst>
          </p:cNvPr>
          <p:cNvSpPr/>
          <p:nvPr/>
        </p:nvSpPr>
        <p:spPr>
          <a:xfrm>
            <a:off x="4749010" y="4814202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60" name="Retângulo 259">
            <a:extLst>
              <a:ext uri="{FF2B5EF4-FFF2-40B4-BE49-F238E27FC236}">
                <a16:creationId xmlns:a16="http://schemas.microsoft.com/office/drawing/2014/main" id="{E5FC57E7-23AC-40AB-BD73-E1EE730F7738}"/>
              </a:ext>
            </a:extLst>
          </p:cNvPr>
          <p:cNvSpPr/>
          <p:nvPr/>
        </p:nvSpPr>
        <p:spPr>
          <a:xfrm>
            <a:off x="5293292" y="5306748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61" name="Retângulo 260">
            <a:extLst>
              <a:ext uri="{FF2B5EF4-FFF2-40B4-BE49-F238E27FC236}">
                <a16:creationId xmlns:a16="http://schemas.microsoft.com/office/drawing/2014/main" id="{8A6BB527-EC77-432D-AFBC-23C88DFC1D8A}"/>
              </a:ext>
            </a:extLst>
          </p:cNvPr>
          <p:cNvSpPr/>
          <p:nvPr/>
        </p:nvSpPr>
        <p:spPr>
          <a:xfrm>
            <a:off x="4749010" y="5297506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62" name="Retângulo 261">
            <a:extLst>
              <a:ext uri="{FF2B5EF4-FFF2-40B4-BE49-F238E27FC236}">
                <a16:creationId xmlns:a16="http://schemas.microsoft.com/office/drawing/2014/main" id="{88289EB1-72E6-42CC-B73E-3F77299A43BE}"/>
              </a:ext>
            </a:extLst>
          </p:cNvPr>
          <p:cNvSpPr/>
          <p:nvPr/>
        </p:nvSpPr>
        <p:spPr>
          <a:xfrm>
            <a:off x="8247158" y="1841274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63" name="Retângulo 262">
            <a:extLst>
              <a:ext uri="{FF2B5EF4-FFF2-40B4-BE49-F238E27FC236}">
                <a16:creationId xmlns:a16="http://schemas.microsoft.com/office/drawing/2014/main" id="{223475BB-DA15-40FE-B6DC-58671659CF90}"/>
              </a:ext>
            </a:extLst>
          </p:cNvPr>
          <p:cNvSpPr/>
          <p:nvPr/>
        </p:nvSpPr>
        <p:spPr>
          <a:xfrm>
            <a:off x="7702876" y="1832032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64" name="Retângulo 263">
            <a:extLst>
              <a:ext uri="{FF2B5EF4-FFF2-40B4-BE49-F238E27FC236}">
                <a16:creationId xmlns:a16="http://schemas.microsoft.com/office/drawing/2014/main" id="{6AF160F2-E958-4CD2-9A63-5059E786671C}"/>
              </a:ext>
            </a:extLst>
          </p:cNvPr>
          <p:cNvSpPr/>
          <p:nvPr/>
        </p:nvSpPr>
        <p:spPr>
          <a:xfrm>
            <a:off x="8247158" y="2270098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65" name="Retângulo 264">
            <a:extLst>
              <a:ext uri="{FF2B5EF4-FFF2-40B4-BE49-F238E27FC236}">
                <a16:creationId xmlns:a16="http://schemas.microsoft.com/office/drawing/2014/main" id="{2E96C49E-0149-4BC9-B16D-CE4EEBCD4451}"/>
              </a:ext>
            </a:extLst>
          </p:cNvPr>
          <p:cNvSpPr/>
          <p:nvPr/>
        </p:nvSpPr>
        <p:spPr>
          <a:xfrm>
            <a:off x="7702876" y="2260856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66" name="Retângulo 265">
            <a:extLst>
              <a:ext uri="{FF2B5EF4-FFF2-40B4-BE49-F238E27FC236}">
                <a16:creationId xmlns:a16="http://schemas.microsoft.com/office/drawing/2014/main" id="{A5609C98-AD6B-4A10-9F48-AC39CB03B3F3}"/>
              </a:ext>
            </a:extLst>
          </p:cNvPr>
          <p:cNvSpPr/>
          <p:nvPr/>
        </p:nvSpPr>
        <p:spPr>
          <a:xfrm>
            <a:off x="8247158" y="2685992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67" name="Retângulo 266">
            <a:extLst>
              <a:ext uri="{FF2B5EF4-FFF2-40B4-BE49-F238E27FC236}">
                <a16:creationId xmlns:a16="http://schemas.microsoft.com/office/drawing/2014/main" id="{1FB84CEF-5B58-42D2-A0A6-9944E681AA59}"/>
              </a:ext>
            </a:extLst>
          </p:cNvPr>
          <p:cNvSpPr/>
          <p:nvPr/>
        </p:nvSpPr>
        <p:spPr>
          <a:xfrm>
            <a:off x="7702876" y="2676750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68" name="Retângulo 267">
            <a:extLst>
              <a:ext uri="{FF2B5EF4-FFF2-40B4-BE49-F238E27FC236}">
                <a16:creationId xmlns:a16="http://schemas.microsoft.com/office/drawing/2014/main" id="{D1608A41-AB38-40A9-9188-7DAA2CB31A8D}"/>
              </a:ext>
            </a:extLst>
          </p:cNvPr>
          <p:cNvSpPr/>
          <p:nvPr/>
        </p:nvSpPr>
        <p:spPr>
          <a:xfrm>
            <a:off x="8247158" y="3067579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69" name="Retângulo 268">
            <a:extLst>
              <a:ext uri="{FF2B5EF4-FFF2-40B4-BE49-F238E27FC236}">
                <a16:creationId xmlns:a16="http://schemas.microsoft.com/office/drawing/2014/main" id="{209D3598-22A0-4752-A9BE-C4378A178AFA}"/>
              </a:ext>
            </a:extLst>
          </p:cNvPr>
          <p:cNvSpPr/>
          <p:nvPr/>
        </p:nvSpPr>
        <p:spPr>
          <a:xfrm>
            <a:off x="7702876" y="3058337"/>
            <a:ext cx="198627" cy="1886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X</a:t>
            </a:r>
          </a:p>
        </p:txBody>
      </p:sp>
      <p:pic>
        <p:nvPicPr>
          <p:cNvPr id="4" name="Gráfico 3" descr="Atualizar DPE">
            <a:extLst>
              <a:ext uri="{FF2B5EF4-FFF2-40B4-BE49-F238E27FC236}">
                <a16:creationId xmlns:a16="http://schemas.microsoft.com/office/drawing/2014/main" id="{7313D2C9-B03E-4FDF-854E-BE287F63CF5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515124" y="6036449"/>
            <a:ext cx="320266" cy="320266"/>
          </a:xfrm>
          <a:prstGeom prst="rect">
            <a:avLst/>
          </a:prstGeom>
        </p:spPr>
      </p:pic>
      <p:sp>
        <p:nvSpPr>
          <p:cNvPr id="92" name="CaixaDeTexto 91">
            <a:extLst>
              <a:ext uri="{FF2B5EF4-FFF2-40B4-BE49-F238E27FC236}">
                <a16:creationId xmlns:a16="http://schemas.microsoft.com/office/drawing/2014/main" id="{AE1ACB05-2F2F-4436-BA4D-7F73A247C68E}"/>
              </a:ext>
            </a:extLst>
          </p:cNvPr>
          <p:cNvSpPr txBox="1"/>
          <p:nvPr/>
        </p:nvSpPr>
        <p:spPr>
          <a:xfrm>
            <a:off x="8150523" y="726067"/>
            <a:ext cx="13009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06/02/2020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CaixaDeTexto 92">
            <a:extLst>
              <a:ext uri="{FF2B5EF4-FFF2-40B4-BE49-F238E27FC236}">
                <a16:creationId xmlns:a16="http://schemas.microsoft.com/office/drawing/2014/main" id="{4066B2B2-E836-4946-8282-D6C95082111A}"/>
              </a:ext>
            </a:extLst>
          </p:cNvPr>
          <p:cNvSpPr txBox="1"/>
          <p:nvPr/>
        </p:nvSpPr>
        <p:spPr>
          <a:xfrm>
            <a:off x="9175613" y="2759793"/>
            <a:ext cx="2930873" cy="181588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ÓS INSERIR OS DADOS E CLICAR NO BOTÃO SALVAR:                     *CÉLULA MUDA DE </a:t>
            </a:r>
            <a:r>
              <a:rPr lang="pt-B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</a:t>
            </a:r>
            <a:r>
              <a:rPr lang="pt-BR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*CONTABILIZA CÉLULAS. *CHEGAGEM DE DIGITOS CORRETOS (</a:t>
            </a:r>
            <a:r>
              <a:rPr lang="pt-BR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./*</a:t>
            </a:r>
            <a:r>
              <a:rPr lang="pt-BR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</p:txBody>
      </p:sp>
      <p:sp>
        <p:nvSpPr>
          <p:cNvPr id="94" name="CaixaDeTexto 93">
            <a:extLst>
              <a:ext uri="{FF2B5EF4-FFF2-40B4-BE49-F238E27FC236}">
                <a16:creationId xmlns:a16="http://schemas.microsoft.com/office/drawing/2014/main" id="{A36E1672-65B6-47BE-8630-7BDDA0F173AE}"/>
              </a:ext>
            </a:extLst>
          </p:cNvPr>
          <p:cNvSpPr txBox="1"/>
          <p:nvPr/>
        </p:nvSpPr>
        <p:spPr>
          <a:xfrm>
            <a:off x="8272509" y="877719"/>
            <a:ext cx="728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4/22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985253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1">
            <a:extLst>
              <a:ext uri="{FF2B5EF4-FFF2-40B4-BE49-F238E27FC236}">
                <a16:creationId xmlns:a16="http://schemas.microsoft.com/office/drawing/2014/main" id="{B0E29851-569D-4E65-9208-1D9E1E862DA4}"/>
              </a:ext>
            </a:extLst>
          </p:cNvPr>
          <p:cNvSpPr txBox="1">
            <a:spLocks/>
          </p:cNvSpPr>
          <p:nvPr/>
        </p:nvSpPr>
        <p:spPr bwMode="auto">
          <a:xfrm>
            <a:off x="438913" y="172728"/>
            <a:ext cx="11460480" cy="516041"/>
          </a:xfrm>
          <a:prstGeom prst="rect">
            <a:avLst/>
          </a:prstGeom>
          <a:solidFill>
            <a:srgbClr val="00539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fontAlgn="base" hangingPunct="1">
              <a:spcBef>
                <a:spcPts val="48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fontAlgn="base" hangingPunct="1">
              <a:spcBef>
                <a:spcPts val="432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/>
              <a:t>BOTÕES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2C0D2949-05E8-4B71-9B18-E56AA1F6F66C}"/>
              </a:ext>
            </a:extLst>
          </p:cNvPr>
          <p:cNvSpPr txBox="1"/>
          <p:nvPr/>
        </p:nvSpPr>
        <p:spPr>
          <a:xfrm>
            <a:off x="438913" y="1018609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SALVAR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881DACF8-679B-43BD-95AB-6F46F18C603B}"/>
              </a:ext>
            </a:extLst>
          </p:cNvPr>
          <p:cNvSpPr txBox="1"/>
          <p:nvPr/>
        </p:nvSpPr>
        <p:spPr>
          <a:xfrm>
            <a:off x="438913" y="2655382"/>
            <a:ext cx="2165811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CONFIGURAÇÃO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4A70285D-E3D3-4FA4-BC2B-2CBD8150B8B1}"/>
              </a:ext>
            </a:extLst>
          </p:cNvPr>
          <p:cNvSpPr txBox="1"/>
          <p:nvPr/>
        </p:nvSpPr>
        <p:spPr>
          <a:xfrm>
            <a:off x="438913" y="5859683"/>
            <a:ext cx="1679766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PESQUISAR</a:t>
            </a:r>
            <a:endParaRPr lang="pt-B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áfico 9" descr="Engrenagem única">
            <a:extLst>
              <a:ext uri="{FF2B5EF4-FFF2-40B4-BE49-F238E27FC236}">
                <a16:creationId xmlns:a16="http://schemas.microsoft.com/office/drawing/2014/main" id="{121E86C3-BBAC-49DD-802A-16E328D599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2402" y="2648313"/>
            <a:ext cx="379138" cy="379138"/>
          </a:xfrm>
          <a:prstGeom prst="rect">
            <a:avLst/>
          </a:prstGeom>
        </p:spPr>
      </p:pic>
      <p:pic>
        <p:nvPicPr>
          <p:cNvPr id="11" name="Gráfico 10" descr="Lupa">
            <a:extLst>
              <a:ext uri="{FF2B5EF4-FFF2-40B4-BE49-F238E27FC236}">
                <a16:creationId xmlns:a16="http://schemas.microsoft.com/office/drawing/2014/main" id="{E84AEFDC-3D98-480F-AA33-6D761B945E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8913" y="5847524"/>
            <a:ext cx="361553" cy="361553"/>
          </a:xfrm>
          <a:prstGeom prst="rect">
            <a:avLst/>
          </a:prstGeom>
        </p:spPr>
      </p:pic>
      <p:pic>
        <p:nvPicPr>
          <p:cNvPr id="12" name="Gráfico 11" descr="Disco">
            <a:extLst>
              <a:ext uri="{FF2B5EF4-FFF2-40B4-BE49-F238E27FC236}">
                <a16:creationId xmlns:a16="http://schemas.microsoft.com/office/drawing/2014/main" id="{DE3ACEC5-A873-4A46-BDED-2EA61E92C1A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8913" y="998317"/>
            <a:ext cx="379138" cy="379138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908EBD35-A024-47C4-8303-D5CA3E459CC2}"/>
              </a:ext>
            </a:extLst>
          </p:cNvPr>
          <p:cNvSpPr txBox="1"/>
          <p:nvPr/>
        </p:nvSpPr>
        <p:spPr>
          <a:xfrm>
            <a:off x="1926667" y="1018609"/>
            <a:ext cx="6975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PÓS INSERIR OS DADOS ESTE BOTÃO SALVA OS DADOS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B0FA4A5B-EE3D-4206-9220-2447137AE535}"/>
              </a:ext>
            </a:extLst>
          </p:cNvPr>
          <p:cNvSpPr txBox="1"/>
          <p:nvPr/>
        </p:nvSpPr>
        <p:spPr>
          <a:xfrm>
            <a:off x="1826777" y="3157950"/>
            <a:ext cx="101020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SELECIONAR ANO E MÊS A SER EDITADA NA PLANILHA COM VALORES REAIS EM SEGUIDA SALVAR.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BBE32E28-468C-489D-8BDF-AA1AE18B9A75}"/>
              </a:ext>
            </a:extLst>
          </p:cNvPr>
          <p:cNvSpPr txBox="1"/>
          <p:nvPr/>
        </p:nvSpPr>
        <p:spPr>
          <a:xfrm>
            <a:off x="1826777" y="3627584"/>
            <a:ext cx="6975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DICIONAR OU REMOVER KPI.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0960ABFC-CC5C-412C-80FD-CFBE5AE263B5}"/>
              </a:ext>
            </a:extLst>
          </p:cNvPr>
          <p:cNvSpPr txBox="1"/>
          <p:nvPr/>
        </p:nvSpPr>
        <p:spPr>
          <a:xfrm>
            <a:off x="1826777" y="4158888"/>
            <a:ext cx="75522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LTERAR META DO KPI (ESPECIFICAÇÃO) E COR DO CARRO.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0EEE7B84-AA56-4813-A9A4-A7E04C15F91E}"/>
              </a:ext>
            </a:extLst>
          </p:cNvPr>
          <p:cNvSpPr txBox="1"/>
          <p:nvPr/>
        </p:nvSpPr>
        <p:spPr>
          <a:xfrm>
            <a:off x="933119" y="3618722"/>
            <a:ext cx="778590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KPIs: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75487D3D-FF80-411E-968F-0620E5945AF5}"/>
              </a:ext>
            </a:extLst>
          </p:cNvPr>
          <p:cNvSpPr txBox="1"/>
          <p:nvPr/>
        </p:nvSpPr>
        <p:spPr>
          <a:xfrm>
            <a:off x="933119" y="4147399"/>
            <a:ext cx="837537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META: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áfico 20" descr="Engrenagem única">
            <a:extLst>
              <a:ext uri="{FF2B5EF4-FFF2-40B4-BE49-F238E27FC236}">
                <a16:creationId xmlns:a16="http://schemas.microsoft.com/office/drawing/2014/main" id="{80A4BA41-714B-4A02-B293-6E281B0915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913" y="3578138"/>
            <a:ext cx="379138" cy="379138"/>
          </a:xfrm>
          <a:prstGeom prst="rect">
            <a:avLst/>
          </a:prstGeom>
        </p:spPr>
      </p:pic>
      <p:pic>
        <p:nvPicPr>
          <p:cNvPr id="22" name="Gráfico 21" descr="Engrenagem única">
            <a:extLst>
              <a:ext uri="{FF2B5EF4-FFF2-40B4-BE49-F238E27FC236}">
                <a16:creationId xmlns:a16="http://schemas.microsoft.com/office/drawing/2014/main" id="{9AC13F86-2708-4A63-BE72-1B413A3235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2402" y="3156261"/>
            <a:ext cx="379138" cy="379138"/>
          </a:xfrm>
          <a:prstGeom prst="rect">
            <a:avLst/>
          </a:prstGeom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2A51BBEF-C022-4D51-AE5D-2DF763CE8146}"/>
              </a:ext>
            </a:extLst>
          </p:cNvPr>
          <p:cNvSpPr txBox="1"/>
          <p:nvPr/>
        </p:nvSpPr>
        <p:spPr>
          <a:xfrm>
            <a:off x="2115324" y="5870523"/>
            <a:ext cx="101020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SELECIONAR O MÊS A SER GERADO NA TELA DE VISUALIZAÇÃO PRINCIPAL.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8AAC32DA-FCEB-4B39-927A-223E7769D9AA}"/>
              </a:ext>
            </a:extLst>
          </p:cNvPr>
          <p:cNvSpPr txBox="1"/>
          <p:nvPr/>
        </p:nvSpPr>
        <p:spPr>
          <a:xfrm>
            <a:off x="438913" y="1808880"/>
            <a:ext cx="1636349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ATUALIZAR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Gráfico 24" descr="Atualizar DPE">
            <a:extLst>
              <a:ext uri="{FF2B5EF4-FFF2-40B4-BE49-F238E27FC236}">
                <a16:creationId xmlns:a16="http://schemas.microsoft.com/office/drawing/2014/main" id="{48F2E514-7864-458E-8B1B-29E2E2F0B6D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2224" y="1812811"/>
            <a:ext cx="337078" cy="337078"/>
          </a:xfrm>
          <a:prstGeom prst="rect">
            <a:avLst/>
          </a:prstGeom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9EC5F4CB-6534-4267-9A7D-DA3CDD766962}"/>
              </a:ext>
            </a:extLst>
          </p:cNvPr>
          <p:cNvSpPr txBox="1"/>
          <p:nvPr/>
        </p:nvSpPr>
        <p:spPr>
          <a:xfrm>
            <a:off x="2115324" y="1798213"/>
            <a:ext cx="6975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TUALIZA OS DADOS INSERIDOS POR MULTIPLOS USUÁRIOS.</a:t>
            </a:r>
          </a:p>
        </p:txBody>
      </p:sp>
      <p:pic>
        <p:nvPicPr>
          <p:cNvPr id="27" name="Gráfico 26" descr="Engrenagem única">
            <a:extLst>
              <a:ext uri="{FF2B5EF4-FFF2-40B4-BE49-F238E27FC236}">
                <a16:creationId xmlns:a16="http://schemas.microsoft.com/office/drawing/2014/main" id="{3B10A117-B468-4B28-BB4C-1E00913E24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444" y="4135894"/>
            <a:ext cx="379138" cy="379138"/>
          </a:xfrm>
          <a:prstGeom prst="rect">
            <a:avLst/>
          </a:prstGeom>
        </p:spPr>
      </p:pic>
      <p:sp>
        <p:nvSpPr>
          <p:cNvPr id="28" name="CaixaDeTexto 27">
            <a:extLst>
              <a:ext uri="{FF2B5EF4-FFF2-40B4-BE49-F238E27FC236}">
                <a16:creationId xmlns:a16="http://schemas.microsoft.com/office/drawing/2014/main" id="{1E702326-40C1-4E79-BAA4-9EC7C5DD6E09}"/>
              </a:ext>
            </a:extLst>
          </p:cNvPr>
          <p:cNvSpPr txBox="1"/>
          <p:nvPr/>
        </p:nvSpPr>
        <p:spPr>
          <a:xfrm>
            <a:off x="939870" y="3157950"/>
            <a:ext cx="1049052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EDITAR: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1A93995E-7975-4DF7-8B18-01013B12748D}"/>
              </a:ext>
            </a:extLst>
          </p:cNvPr>
          <p:cNvSpPr txBox="1"/>
          <p:nvPr/>
        </p:nvSpPr>
        <p:spPr>
          <a:xfrm>
            <a:off x="2618213" y="2656100"/>
            <a:ext cx="6975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DENTRO DE CONFIGURAÇÕES TEMOS ALGUMAS FUNÇÕES:.</a:t>
            </a:r>
          </a:p>
        </p:txBody>
      </p:sp>
      <p:pic>
        <p:nvPicPr>
          <p:cNvPr id="30" name="Gráfico 29" descr="Engrenagem única">
            <a:extLst>
              <a:ext uri="{FF2B5EF4-FFF2-40B4-BE49-F238E27FC236}">
                <a16:creationId xmlns:a16="http://schemas.microsoft.com/office/drawing/2014/main" id="{61B1BFB7-076F-4677-AD58-82500050A9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4180" y="4643842"/>
            <a:ext cx="379138" cy="379138"/>
          </a:xfrm>
          <a:prstGeom prst="rect">
            <a:avLst/>
          </a:prstGeom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id="{D9AEA4A2-634B-41C0-B78D-8B3D10414D28}"/>
              </a:ext>
            </a:extLst>
          </p:cNvPr>
          <p:cNvSpPr txBox="1"/>
          <p:nvPr/>
        </p:nvSpPr>
        <p:spPr>
          <a:xfrm>
            <a:off x="843319" y="4676076"/>
            <a:ext cx="1272006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USUÁRIO: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6EBCBBCC-6713-449C-BEBC-185A2BE7514A}"/>
              </a:ext>
            </a:extLst>
          </p:cNvPr>
          <p:cNvSpPr txBox="1"/>
          <p:nvPr/>
        </p:nvSpPr>
        <p:spPr>
          <a:xfrm>
            <a:off x="2041117" y="4676076"/>
            <a:ext cx="8419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DEFINIÇÃO DE ACESSO A CADA USUÁRIO E CRIAÇÃO DE USUÁRIO.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252B999F-0EA5-448E-86E4-ECD9AB12C708}"/>
              </a:ext>
            </a:extLst>
          </p:cNvPr>
          <p:cNvSpPr txBox="1"/>
          <p:nvPr/>
        </p:nvSpPr>
        <p:spPr>
          <a:xfrm>
            <a:off x="671793" y="5213103"/>
            <a:ext cx="3241001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HISTORICO DE ALTERAÇÃO: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Gráfico 34" descr="Engrenagem única">
            <a:extLst>
              <a:ext uri="{FF2B5EF4-FFF2-40B4-BE49-F238E27FC236}">
                <a16:creationId xmlns:a16="http://schemas.microsoft.com/office/drawing/2014/main" id="{0388353D-1FD4-4216-BAAA-6B4EEC078C2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2224" y="5185349"/>
            <a:ext cx="379138" cy="379138"/>
          </a:xfrm>
          <a:prstGeom prst="rect">
            <a:avLst/>
          </a:prstGeom>
        </p:spPr>
      </p:pic>
      <p:sp>
        <p:nvSpPr>
          <p:cNvPr id="36" name="CaixaDeTexto 35">
            <a:extLst>
              <a:ext uri="{FF2B5EF4-FFF2-40B4-BE49-F238E27FC236}">
                <a16:creationId xmlns:a16="http://schemas.microsoft.com/office/drawing/2014/main" id="{E77A01D3-8C63-47CB-AD29-DA5D7E8DD352}"/>
              </a:ext>
            </a:extLst>
          </p:cNvPr>
          <p:cNvSpPr txBox="1"/>
          <p:nvPr/>
        </p:nvSpPr>
        <p:spPr>
          <a:xfrm>
            <a:off x="3807977" y="5206998"/>
            <a:ext cx="6975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REGISTRA QUEM FEZ A ULTIMA ATUALIZAÇÃO NA CÉLULA.</a:t>
            </a:r>
          </a:p>
        </p:txBody>
      </p:sp>
    </p:spTree>
    <p:extLst>
      <p:ext uri="{BB962C8B-B14F-4D97-AF65-F5344CB8AC3E}">
        <p14:creationId xmlns:p14="http://schemas.microsoft.com/office/powerpoint/2010/main" val="9434784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">
            <a:extLst>
              <a:ext uri="{FF2B5EF4-FFF2-40B4-BE49-F238E27FC236}">
                <a16:creationId xmlns:a16="http://schemas.microsoft.com/office/drawing/2014/main" id="{FD4F25C1-A17D-485C-866A-7007316B9B6A}"/>
              </a:ext>
            </a:extLst>
          </p:cNvPr>
          <p:cNvSpPr txBox="1">
            <a:spLocks/>
          </p:cNvSpPr>
          <p:nvPr/>
        </p:nvSpPr>
        <p:spPr>
          <a:xfrm>
            <a:off x="609600" y="673481"/>
            <a:ext cx="4951605" cy="38529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ts val="576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fontAlgn="base" hangingPunct="1">
              <a:spcBef>
                <a:spcPts val="48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fontAlgn="base" hangingPunct="1">
              <a:spcBef>
                <a:spcPts val="432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13" name="Espaço Reservado para Texto 1">
            <a:extLst>
              <a:ext uri="{FF2B5EF4-FFF2-40B4-BE49-F238E27FC236}">
                <a16:creationId xmlns:a16="http://schemas.microsoft.com/office/drawing/2014/main" id="{F1BFEE18-8E49-400E-9C9B-D40BA17B3BB1}"/>
              </a:ext>
            </a:extLst>
          </p:cNvPr>
          <p:cNvSpPr txBox="1">
            <a:spLocks/>
          </p:cNvSpPr>
          <p:nvPr/>
        </p:nvSpPr>
        <p:spPr bwMode="auto">
          <a:xfrm>
            <a:off x="950977" y="172728"/>
            <a:ext cx="9826752" cy="516041"/>
          </a:xfrm>
          <a:prstGeom prst="rect">
            <a:avLst/>
          </a:prstGeom>
          <a:solidFill>
            <a:srgbClr val="00539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fontAlgn="base" hangingPunct="1">
              <a:spcBef>
                <a:spcPts val="48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fontAlgn="base" hangingPunct="1">
              <a:spcBef>
                <a:spcPts val="432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/>
              <a:t>RACE FOR EXCELLENCE 1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F340066-9EDA-4449-BD26-76F9691AEE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91" t="21601" r="21067" b="10043"/>
          <a:stretch/>
        </p:blipFill>
        <p:spPr>
          <a:xfrm>
            <a:off x="950977" y="780287"/>
            <a:ext cx="8096886" cy="5754626"/>
          </a:xfrm>
          <a:prstGeom prst="rect">
            <a:avLst/>
          </a:prstGeom>
        </p:spPr>
      </p:pic>
      <p:pic>
        <p:nvPicPr>
          <p:cNvPr id="6" name="Gráfico 5" descr="Voltar">
            <a:extLst>
              <a:ext uri="{FF2B5EF4-FFF2-40B4-BE49-F238E27FC236}">
                <a16:creationId xmlns:a16="http://schemas.microsoft.com/office/drawing/2014/main" id="{D1FAE0C2-EE89-4824-8F3E-CC0C0A8E8FE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0977" y="6187441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4685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>
            <a:extLst>
              <a:ext uri="{FF2B5EF4-FFF2-40B4-BE49-F238E27FC236}">
                <a16:creationId xmlns:a16="http://schemas.microsoft.com/office/drawing/2014/main" id="{1CC3AADF-4147-432F-8895-0F8D269D1A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26" t="21403" r="1813" b="17018"/>
          <a:stretch/>
        </p:blipFill>
        <p:spPr>
          <a:xfrm>
            <a:off x="84221" y="378706"/>
            <a:ext cx="12005010" cy="6124649"/>
          </a:xfrm>
          <a:prstGeom prst="rect">
            <a:avLst/>
          </a:prstGeom>
        </p:spPr>
      </p:pic>
      <p:sp>
        <p:nvSpPr>
          <p:cNvPr id="4" name="Espaço Reservado para Texto 1">
            <a:extLst>
              <a:ext uri="{FF2B5EF4-FFF2-40B4-BE49-F238E27FC236}">
                <a16:creationId xmlns:a16="http://schemas.microsoft.com/office/drawing/2014/main" id="{3EDCA457-E7E5-4575-8358-5309D904EB4E}"/>
              </a:ext>
            </a:extLst>
          </p:cNvPr>
          <p:cNvSpPr txBox="1">
            <a:spLocks/>
          </p:cNvSpPr>
          <p:nvPr/>
        </p:nvSpPr>
        <p:spPr bwMode="auto">
          <a:xfrm>
            <a:off x="1246471" y="58140"/>
            <a:ext cx="9143517" cy="320567"/>
          </a:xfrm>
          <a:prstGeom prst="rect">
            <a:avLst/>
          </a:prstGeom>
          <a:solidFill>
            <a:srgbClr val="00539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fontAlgn="base" hangingPunct="1">
              <a:spcBef>
                <a:spcPts val="48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fontAlgn="base" hangingPunct="1">
              <a:spcBef>
                <a:spcPts val="432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/>
              <a:t>RACE FOR EXCELLENCE 2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71ECFD89-71AC-4B95-94E8-8C338B0EC6E2}"/>
              </a:ext>
            </a:extLst>
          </p:cNvPr>
          <p:cNvSpPr txBox="1"/>
          <p:nvPr/>
        </p:nvSpPr>
        <p:spPr>
          <a:xfrm>
            <a:off x="1010652" y="6226357"/>
            <a:ext cx="10170695" cy="2769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*CADA CARRO DE FÓRMULA 1 DE UMA COR DIFERENTE E NOME DO KPI NA LATERAL (PONTUAÇÃO 0/5/10/15/20)</a:t>
            </a:r>
          </a:p>
        </p:txBody>
      </p:sp>
      <p:pic>
        <p:nvPicPr>
          <p:cNvPr id="5" name="Gráfico 4" descr="Voltar">
            <a:extLst>
              <a:ext uri="{FF2B5EF4-FFF2-40B4-BE49-F238E27FC236}">
                <a16:creationId xmlns:a16="http://schemas.microsoft.com/office/drawing/2014/main" id="{4D7D5277-9D59-443F-AE42-CF465FEEED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21" y="6155884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86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exto 1">
            <a:extLst>
              <a:ext uri="{FF2B5EF4-FFF2-40B4-BE49-F238E27FC236}">
                <a16:creationId xmlns:a16="http://schemas.microsoft.com/office/drawing/2014/main" id="{5EAF4271-6440-44A4-BB39-C9CDA6189464}"/>
              </a:ext>
            </a:extLst>
          </p:cNvPr>
          <p:cNvSpPr txBox="1">
            <a:spLocks/>
          </p:cNvSpPr>
          <p:nvPr/>
        </p:nvSpPr>
        <p:spPr bwMode="auto">
          <a:xfrm>
            <a:off x="1060705" y="172728"/>
            <a:ext cx="9668256" cy="516041"/>
          </a:xfrm>
          <a:prstGeom prst="rect">
            <a:avLst/>
          </a:prstGeom>
          <a:solidFill>
            <a:srgbClr val="00539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fontAlgn="base" hangingPunct="1">
              <a:spcBef>
                <a:spcPts val="48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fontAlgn="base" hangingPunct="1">
              <a:spcBef>
                <a:spcPts val="432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/>
              <a:t>TELA DE EDITAR DADOS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BE882DA-6DFB-45C6-9473-5BA9C7B5FF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0" t="21528" r="22778" b="13195"/>
          <a:stretch/>
        </p:blipFill>
        <p:spPr>
          <a:xfrm>
            <a:off x="1060705" y="734909"/>
            <a:ext cx="8177151" cy="567690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BB515A4-F703-4EA5-8E30-3573CAD21DAB}"/>
              </a:ext>
            </a:extLst>
          </p:cNvPr>
          <p:cNvSpPr txBox="1"/>
          <p:nvPr/>
        </p:nvSpPr>
        <p:spPr>
          <a:xfrm>
            <a:off x="9318564" y="2340693"/>
            <a:ext cx="2820794" cy="156966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*FILTRAR MÊS A EDITAR.        </a:t>
            </a:r>
            <a:r>
              <a:rPr lang="pt-BR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CLICAR EM EDITAR &gt;SELECIONAR CÉLULA &gt;SALVAR &gt;ATUALIZAR. 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*PLANILHA COM VALORES REAIS PARA EDITAR.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E6329662-5BFA-4F44-92DA-046275C07C56}"/>
              </a:ext>
            </a:extLst>
          </p:cNvPr>
          <p:cNvSpPr txBox="1"/>
          <p:nvPr/>
        </p:nvSpPr>
        <p:spPr>
          <a:xfrm>
            <a:off x="4597446" y="6438138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SALVAR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áfico 10" descr="Disco">
            <a:extLst>
              <a:ext uri="{FF2B5EF4-FFF2-40B4-BE49-F238E27FC236}">
                <a16:creationId xmlns:a16="http://schemas.microsoft.com/office/drawing/2014/main" id="{337B8F48-F0C2-4D09-B030-F623ACA856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4723" y="6418822"/>
            <a:ext cx="379138" cy="379138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2C3E3E8C-E688-4612-ADFF-433A6A080ADA}"/>
              </a:ext>
            </a:extLst>
          </p:cNvPr>
          <p:cNvSpPr txBox="1"/>
          <p:nvPr/>
        </p:nvSpPr>
        <p:spPr>
          <a:xfrm>
            <a:off x="7529178" y="6448665"/>
            <a:ext cx="1636349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ATUALIZAR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Gráfico 12" descr="Atualizar DPE">
            <a:extLst>
              <a:ext uri="{FF2B5EF4-FFF2-40B4-BE49-F238E27FC236}">
                <a16:creationId xmlns:a16="http://schemas.microsoft.com/office/drawing/2014/main" id="{71569A41-07EC-432C-83A9-B0C96E7D161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03752" y="6477246"/>
            <a:ext cx="320266" cy="320266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D1C58848-A43B-44C8-B7D9-62342E5D250D}"/>
              </a:ext>
            </a:extLst>
          </p:cNvPr>
          <p:cNvSpPr txBox="1"/>
          <p:nvPr/>
        </p:nvSpPr>
        <p:spPr>
          <a:xfrm>
            <a:off x="1869521" y="6412050"/>
            <a:ext cx="1331742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EDITAR</a:t>
            </a:r>
            <a:endParaRPr lang="pt-B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Gráfico 3" descr="Lápis">
            <a:extLst>
              <a:ext uri="{FF2B5EF4-FFF2-40B4-BE49-F238E27FC236}">
                <a16:creationId xmlns:a16="http://schemas.microsoft.com/office/drawing/2014/main" id="{118D5690-71BB-40AF-8AA5-7E071884943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04118" y="6457950"/>
            <a:ext cx="299775" cy="299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1614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1">
            <a:extLst>
              <a:ext uri="{FF2B5EF4-FFF2-40B4-BE49-F238E27FC236}">
                <a16:creationId xmlns:a16="http://schemas.microsoft.com/office/drawing/2014/main" id="{4E77C352-049B-4919-B5C6-94E596685A91}"/>
              </a:ext>
            </a:extLst>
          </p:cNvPr>
          <p:cNvSpPr txBox="1">
            <a:spLocks/>
          </p:cNvSpPr>
          <p:nvPr/>
        </p:nvSpPr>
        <p:spPr bwMode="auto">
          <a:xfrm>
            <a:off x="316993" y="172728"/>
            <a:ext cx="11509248" cy="516041"/>
          </a:xfrm>
          <a:prstGeom prst="rect">
            <a:avLst/>
          </a:prstGeom>
          <a:solidFill>
            <a:srgbClr val="00539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fontAlgn="base" hangingPunct="1">
              <a:spcBef>
                <a:spcPts val="48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fontAlgn="base" hangingPunct="1">
              <a:spcBef>
                <a:spcPts val="432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fontAlgn="base" hangingPunct="1">
              <a:spcBef>
                <a:spcPts val="384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/>
              <a:t>CONSIDERAÇÕES FINAL 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8DDD4A70-DFA8-45F5-B8C8-EDC950A84954}"/>
              </a:ext>
            </a:extLst>
          </p:cNvPr>
          <p:cNvSpPr txBox="1"/>
          <p:nvPr/>
        </p:nvSpPr>
        <p:spPr>
          <a:xfrm>
            <a:off x="316992" y="1164229"/>
            <a:ext cx="6975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DUVIDAS?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54D7337-837B-478F-B645-6AEC108E9AA0}"/>
              </a:ext>
            </a:extLst>
          </p:cNvPr>
          <p:cNvSpPr txBox="1"/>
          <p:nvPr/>
        </p:nvSpPr>
        <p:spPr>
          <a:xfrm>
            <a:off x="316993" y="1978243"/>
            <a:ext cx="6975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PRAZO?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74C65779-4055-432F-BDED-F81C6AFA08B9}"/>
              </a:ext>
            </a:extLst>
          </p:cNvPr>
          <p:cNvSpPr txBox="1"/>
          <p:nvPr/>
        </p:nvSpPr>
        <p:spPr>
          <a:xfrm>
            <a:off x="316991" y="2792257"/>
            <a:ext cx="6975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BUG?</a:t>
            </a:r>
          </a:p>
        </p:txBody>
      </p:sp>
    </p:spTree>
    <p:extLst>
      <p:ext uri="{BB962C8B-B14F-4D97-AF65-F5344CB8AC3E}">
        <p14:creationId xmlns:p14="http://schemas.microsoft.com/office/powerpoint/2010/main" val="23681927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>
            <a:extLst>
              <a:ext uri="{FF2B5EF4-FFF2-40B4-BE49-F238E27FC236}">
                <a16:creationId xmlns:a16="http://schemas.microsoft.com/office/drawing/2014/main" id="{734DF341-B957-4C63-B5C6-F6B3334A4FA4}"/>
              </a:ext>
            </a:extLst>
          </p:cNvPr>
          <p:cNvSpPr txBox="1"/>
          <p:nvPr/>
        </p:nvSpPr>
        <p:spPr>
          <a:xfrm>
            <a:off x="3352800" y="2159000"/>
            <a:ext cx="73914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800" b="1" i="1" dirty="0">
                <a:latin typeface="3ds" panose="02000503020000020004" pitchFamily="2" charset="0"/>
                <a:cs typeface="Arial" panose="020B0604020202020204" pitchFamily="34" charset="0"/>
              </a:rPr>
              <a:t>OBRIGADO!</a:t>
            </a:r>
          </a:p>
        </p:txBody>
      </p:sp>
    </p:spTree>
    <p:extLst>
      <p:ext uri="{BB962C8B-B14F-4D97-AF65-F5344CB8AC3E}">
        <p14:creationId xmlns:p14="http://schemas.microsoft.com/office/powerpoint/2010/main" val="37065698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ssion for Performance Template">
  <a:themeElements>
    <a:clrScheme name="Cooper Standard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5A4"/>
      </a:accent1>
      <a:accent2>
        <a:srgbClr val="EEB211"/>
      </a:accent2>
      <a:accent3>
        <a:srgbClr val="3DA345"/>
      </a:accent3>
      <a:accent4>
        <a:srgbClr val="00AEEF"/>
      </a:accent4>
      <a:accent5>
        <a:srgbClr val="8064A2"/>
      </a:accent5>
      <a:accent6>
        <a:srgbClr val="C0504D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operStandard-Core-Line-Final.potx [Read-Only]" id="{4AF1BB6B-02ED-4EA7-B5D0-28D3E6F5F16F}" vid="{A4C33F85-16A8-46F0-8760-E8EF7A102DF8}"/>
    </a:ext>
  </a:extLst>
</a:theme>
</file>

<file path=ppt/theme/theme2.xml><?xml version="1.0" encoding="utf-8"?>
<a:theme xmlns:a="http://schemas.openxmlformats.org/drawingml/2006/main" name="1_Passion for Performance Template">
  <a:themeElements>
    <a:clrScheme name="Cooper Standard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5A4"/>
      </a:accent1>
      <a:accent2>
        <a:srgbClr val="EEB211"/>
      </a:accent2>
      <a:accent3>
        <a:srgbClr val="3DA345"/>
      </a:accent3>
      <a:accent4>
        <a:srgbClr val="00AEEF"/>
      </a:accent4>
      <a:accent5>
        <a:srgbClr val="8064A2"/>
      </a:accent5>
      <a:accent6>
        <a:srgbClr val="C050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operStandard-Core-Line v5.potx" id="{D8BDEB44-E7A9-4958-89F0-E8E2BAB7B5B3}" vid="{8333D29F-5E5A-4090-9D75-9A7ED16D238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6396897B265143989C50BE7A40C335" ma:contentTypeVersion="3" ma:contentTypeDescription="Create a new document." ma:contentTypeScope="" ma:versionID="79ff50f79aeb152fe327dc2694dd8c4b">
  <xsd:schema xmlns:xsd="http://www.w3.org/2001/XMLSchema" xmlns:xs="http://www.w3.org/2001/XMLSchema" xmlns:p="http://schemas.microsoft.com/office/2006/metadata/properties" xmlns:ns2="5527BA6C-2154-4C37-A8C7-7661D22627A0" targetNamespace="http://schemas.microsoft.com/office/2006/metadata/properties" ma:root="true" ma:fieldsID="4e409251878e70151a210c0ff36c910d" ns2:_="">
    <xsd:import namespace="5527BA6C-2154-4C37-A8C7-7661D22627A0"/>
    <xsd:element name="properties">
      <xsd:complexType>
        <xsd:sequence>
          <xsd:element name="documentManagement">
            <xsd:complexType>
              <xsd:all>
                <xsd:element ref="ns2:Owner" minOccurs="0"/>
                <xsd:element ref="ns2:SPSDescriptio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27BA6C-2154-4C37-A8C7-7661D22627A0" elementFormDefault="qualified">
    <xsd:import namespace="http://schemas.microsoft.com/office/2006/documentManagement/types"/>
    <xsd:import namespace="http://schemas.microsoft.com/office/infopath/2007/PartnerControls"/>
    <xsd:element name="Owner" ma:index="8" nillable="true" ma:displayName="Owner" ma:internalName="Owner">
      <xsd:simpleType>
        <xsd:restriction base="dms:Text"/>
      </xsd:simpleType>
    </xsd:element>
    <xsd:element name="SPSDescription" ma:index="9" nillable="true" ma:displayName="Description" ma:internalName="SPSDescription">
      <xsd:simpleType>
        <xsd:restriction base="dms:Note">
          <xsd:maxLength value="255"/>
        </xsd:restriction>
      </xsd:simpleType>
    </xsd:element>
    <xsd:element name="Status" ma:index="10" nillable="true" ma:displayName="Status" ma:internalName="Status">
      <xsd:simpleType>
        <xsd:restriction base="dms:Choice">
          <xsd:enumeration value="Rough"/>
          <xsd:enumeration value="Draft"/>
          <xsd:enumeration value="In Review"/>
          <xsd:enumeration value="Final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PSDescription xmlns="5527BA6C-2154-4C37-A8C7-7661D22627A0" xsi:nil="true"/>
    <Status xmlns="5527BA6C-2154-4C37-A8C7-7661D22627A0" xsi:nil="true"/>
    <Owner xmlns="5527BA6C-2154-4C37-A8C7-7661D22627A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7474B3-4533-4A39-BFE6-59ABD484FD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27BA6C-2154-4C37-A8C7-7661D22627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644A6BA-FBAB-4A50-943F-DC679475769F}">
  <ds:schemaRefs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  <ds:schemaRef ds:uri="http://purl.org/dc/elements/1.1/"/>
    <ds:schemaRef ds:uri="http://purl.org/dc/dcmitype/"/>
    <ds:schemaRef ds:uri="http://schemas.openxmlformats.org/package/2006/metadata/core-properties"/>
    <ds:schemaRef ds:uri="5527BA6C-2154-4C37-A8C7-7661D22627A0"/>
  </ds:schemaRefs>
</ds:datastoreItem>
</file>

<file path=customXml/itemProps3.xml><?xml version="1.0" encoding="utf-8"?>
<ds:datastoreItem xmlns:ds="http://schemas.openxmlformats.org/officeDocument/2006/customXml" ds:itemID="{1DAFC110-A59E-422F-AD1C-715F37277B2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operStandard-CoreTemplateFinal</Template>
  <TotalTime>583</TotalTime>
  <Words>349</Words>
  <Application>Microsoft Office PowerPoint</Application>
  <PresentationFormat>Widescreen</PresentationFormat>
  <Paragraphs>102</Paragraphs>
  <Slides>8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14" baseType="lpstr">
      <vt:lpstr>3ds</vt:lpstr>
      <vt:lpstr>Arial</vt:lpstr>
      <vt:lpstr>Calibri</vt:lpstr>
      <vt:lpstr>Passion for Performance Template</vt:lpstr>
      <vt:lpstr>1_Passion for Performance Template</vt:lpstr>
      <vt:lpstr>think-cell Slide</vt:lpstr>
      <vt:lpstr>RACE FOR EXCELLEN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Cooper Standard Automot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nas, Cheryl Ann</dc:creator>
  <cp:lastModifiedBy>Fonseca, Lucas</cp:lastModifiedBy>
  <cp:revision>85</cp:revision>
  <dcterms:created xsi:type="dcterms:W3CDTF">2019-04-08T15:22:11Z</dcterms:created>
  <dcterms:modified xsi:type="dcterms:W3CDTF">2020-02-06T19:3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6396897B265143989C50BE7A40C335</vt:lpwstr>
  </property>
</Properties>
</file>